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9"/>
  </p:notesMasterIdLst>
  <p:sldIdLst>
    <p:sldId id="256" r:id="rId2"/>
    <p:sldId id="258" r:id="rId3"/>
    <p:sldId id="259" r:id="rId4"/>
    <p:sldId id="260" r:id="rId5"/>
    <p:sldId id="261" r:id="rId6"/>
    <p:sldId id="263" r:id="rId7"/>
    <p:sldId id="257" r:id="rId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5CB0B013-2C57-4A27-AE41-D957AE96FAE8}" type="datetimeFigureOut">
              <a:rPr lang="he-IL" smtClean="0"/>
              <a:t>ז'/שבט/תשפ"א</a:t>
            </a:fld>
            <a:endParaRPr lang="he-I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e-I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B37E8CCA-B600-43DF-B513-89127F67C8D6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453153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4732865"/>
            <a:ext cx="99060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796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3" y="5299603"/>
            <a:ext cx="9906000" cy="493712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3124199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None/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3308581"/>
            <a:ext cx="9906000" cy="14688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0" y="4777381"/>
            <a:ext cx="9906001" cy="86040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36612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609601"/>
            <a:ext cx="9296398" cy="2743199"/>
          </a:xfrm>
        </p:spPr>
        <p:txBody>
          <a:bodyPr anchor="ctr">
            <a:normAutofit/>
          </a:bodyPr>
          <a:lstStyle>
            <a:lvl1pPr algn="l">
              <a:defRPr sz="32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886200"/>
            <a:ext cx="9906000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775200"/>
            <a:ext cx="9906000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609601"/>
            <a:ext cx="9905999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41412" y="3505200"/>
            <a:ext cx="99060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343400"/>
            <a:ext cx="9906000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609599"/>
            <a:ext cx="2210514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2" y="609600"/>
            <a:ext cx="7543800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3" y="3308581"/>
            <a:ext cx="8686800" cy="1468800"/>
          </a:xfrm>
        </p:spPr>
        <p:txBody>
          <a:bodyPr anchor="b"/>
          <a:lstStyle>
            <a:lvl1pPr algn="r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011" y="4777381"/>
            <a:ext cx="8686801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2" y="2666999"/>
            <a:ext cx="4876800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0612" y="2667000"/>
            <a:ext cx="4876800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9280" y="2658533"/>
            <a:ext cx="4588931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2" y="3243262"/>
            <a:ext cx="4876800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43133" y="2667000"/>
            <a:ext cx="460428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2" y="3243262"/>
            <a:ext cx="4876801" cy="2547937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3549121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3812" y="609601"/>
            <a:ext cx="5943601" cy="51816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3549121" cy="18288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600200"/>
            <a:ext cx="5334001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33733" y="-18288"/>
            <a:ext cx="3276599" cy="690372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971800"/>
            <a:ext cx="5334001" cy="18288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399212" y="5883275"/>
            <a:ext cx="914400" cy="365125"/>
          </a:xfrm>
        </p:spPr>
        <p:txBody>
          <a:bodyPr/>
          <a:lstStyle/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51054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42612" y="5883275"/>
            <a:ext cx="3225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3" y="2666999"/>
            <a:ext cx="9905998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37612" y="5883275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20-Jan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1" r:id="rId9"/>
    <p:sldLayoutId id="2147483657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58" r:id="rId16"/>
    <p:sldLayoutId id="2147483659" r:id="rId17"/>
  </p:sldLayoutIdLst>
  <p:txStyles>
    <p:titleStyle>
      <a:lvl1pPr algn="l" defTabSz="457200" rtl="1" eaLnBrk="1" latinLnBrk="0" hangingPunct="1">
        <a:spcBef>
          <a:spcPct val="0"/>
        </a:spcBef>
        <a:buNone/>
        <a:defRPr sz="32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6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rtl="1" eaLnBrk="1" hangingPunct="1">
        <a:defRPr>
          <a:solidFill>
            <a:schemeClr val="tx2"/>
          </a:solidFill>
        </a:defRPr>
      </a:lvl2pPr>
      <a:lvl3pPr rtl="1" eaLnBrk="1" hangingPunct="1">
        <a:defRPr>
          <a:solidFill>
            <a:schemeClr val="tx2"/>
          </a:solidFill>
        </a:defRPr>
      </a:lvl3pPr>
      <a:lvl4pPr rtl="1" eaLnBrk="1" hangingPunct="1">
        <a:defRPr>
          <a:solidFill>
            <a:schemeClr val="tx2"/>
          </a:solidFill>
        </a:defRPr>
      </a:lvl4pPr>
      <a:lvl5pPr rtl="1" eaLnBrk="1" hangingPunct="1">
        <a:defRPr>
          <a:solidFill>
            <a:schemeClr val="tx2"/>
          </a:solidFill>
        </a:defRPr>
      </a:lvl5pPr>
      <a:lvl6pPr rtl="1" eaLnBrk="1" hangingPunct="1">
        <a:defRPr>
          <a:solidFill>
            <a:schemeClr val="tx2"/>
          </a:solidFill>
        </a:defRPr>
      </a:lvl6pPr>
      <a:lvl7pPr rtl="1" eaLnBrk="1" hangingPunct="1">
        <a:defRPr>
          <a:solidFill>
            <a:schemeClr val="tx2"/>
          </a:solidFill>
        </a:defRPr>
      </a:lvl7pPr>
      <a:lvl8pPr rtl="1" eaLnBrk="1" hangingPunct="1">
        <a:defRPr>
          <a:solidFill>
            <a:schemeClr val="tx2"/>
          </a:solidFill>
        </a:defRPr>
      </a:lvl8pPr>
      <a:lvl9pPr rtl="1" eaLnBrk="1" hangingPunct="1">
        <a:defRPr>
          <a:solidFill>
            <a:schemeClr val="tx2"/>
          </a:solidFill>
        </a:defRPr>
      </a:lvl9pPr>
    </p:titleStyle>
    <p:bodyStyle>
      <a:lvl1pPr marL="285750" indent="-28575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20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8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1200150" indent="-28575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6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543050" indent="-17145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2000250" indent="-17145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4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r" defTabSz="457200" rtl="1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10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58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4572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2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fif"/><Relationship Id="rId2" Type="http://schemas.openxmlformats.org/officeDocument/2006/relationships/image" Target="../media/image7.jf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7" name="Group 816">
            <a:extLst>
              <a:ext uri="{FF2B5EF4-FFF2-40B4-BE49-F238E27FC236}">
                <a16:creationId xmlns:a16="http://schemas.microsoft.com/office/drawing/2014/main" id="{8A3836A6-B8E6-4FAF-B9CA-B60CCB51ECF2}"/>
              </a:ext>
            </a:extLst>
          </p:cNvPr>
          <p:cNvGrpSpPr/>
          <p:nvPr/>
        </p:nvGrpSpPr>
        <p:grpSpPr>
          <a:xfrm>
            <a:off x="1020145" y="1059258"/>
            <a:ext cx="4741509" cy="4739483"/>
            <a:chOff x="2867306" y="555554"/>
            <a:chExt cx="5682049" cy="5542946"/>
          </a:xfrm>
        </p:grpSpPr>
        <p:grpSp>
          <p:nvGrpSpPr>
            <p:cNvPr id="546" name="Group 545">
              <a:extLst>
                <a:ext uri="{FF2B5EF4-FFF2-40B4-BE49-F238E27FC236}">
                  <a16:creationId xmlns:a16="http://schemas.microsoft.com/office/drawing/2014/main" id="{33515681-9D05-41DF-863D-1369376C166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67306" y="555554"/>
              <a:ext cx="5682049" cy="5542946"/>
              <a:chOff x="-1960562" y="-4435475"/>
              <a:chExt cx="16211551" cy="15814675"/>
            </a:xfrm>
          </p:grpSpPr>
          <p:sp>
            <p:nvSpPr>
              <p:cNvPr id="547" name="Freeform 6">
                <a:extLst>
                  <a:ext uri="{FF2B5EF4-FFF2-40B4-BE49-F238E27FC236}">
                    <a16:creationId xmlns:a16="http://schemas.microsoft.com/office/drawing/2014/main" id="{015AECB7-F7D3-497E-9297-DEFA43110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9613" y="4176713"/>
                <a:ext cx="292100" cy="1681163"/>
              </a:xfrm>
              <a:custGeom>
                <a:avLst/>
                <a:gdLst>
                  <a:gd name="T0" fmla="*/ 44 w 382"/>
                  <a:gd name="T1" fmla="*/ 2205 h 2207"/>
                  <a:gd name="T2" fmla="*/ 49 w 382"/>
                  <a:gd name="T3" fmla="*/ 2207 h 2207"/>
                  <a:gd name="T4" fmla="*/ 382 w 382"/>
                  <a:gd name="T5" fmla="*/ 7 h 2207"/>
                  <a:gd name="T6" fmla="*/ 332 w 382"/>
                  <a:gd name="T7" fmla="*/ 0 h 2207"/>
                  <a:gd name="T8" fmla="*/ 0 w 382"/>
                  <a:gd name="T9" fmla="*/ 2197 h 2207"/>
                  <a:gd name="T10" fmla="*/ 44 w 382"/>
                  <a:gd name="T11" fmla="*/ 2205 h 2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2" h="2207">
                    <a:moveTo>
                      <a:pt x="44" y="2205"/>
                    </a:moveTo>
                    <a:cubicBezTo>
                      <a:pt x="46" y="2206"/>
                      <a:pt x="47" y="2206"/>
                      <a:pt x="49" y="2207"/>
                    </a:cubicBezTo>
                    <a:lnTo>
                      <a:pt x="382" y="7"/>
                    </a:lnTo>
                    <a:cubicBezTo>
                      <a:pt x="365" y="5"/>
                      <a:pt x="348" y="3"/>
                      <a:pt x="332" y="0"/>
                    </a:cubicBezTo>
                    <a:lnTo>
                      <a:pt x="0" y="2197"/>
                    </a:lnTo>
                    <a:cubicBezTo>
                      <a:pt x="15" y="2199"/>
                      <a:pt x="29" y="2202"/>
                      <a:pt x="44" y="2205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48" name="Freeform 7">
                <a:extLst>
                  <a:ext uri="{FF2B5EF4-FFF2-40B4-BE49-F238E27FC236}">
                    <a16:creationId xmlns:a16="http://schemas.microsoft.com/office/drawing/2014/main" id="{32195752-3B66-4073-A8E8-E1F31DA3C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6951" y="3479800"/>
                <a:ext cx="598488" cy="330200"/>
              </a:xfrm>
              <a:custGeom>
                <a:avLst/>
                <a:gdLst>
                  <a:gd name="T0" fmla="*/ 787 w 787"/>
                  <a:gd name="T1" fmla="*/ 390 h 434"/>
                  <a:gd name="T2" fmla="*/ 22 w 787"/>
                  <a:gd name="T3" fmla="*/ 0 h 434"/>
                  <a:gd name="T4" fmla="*/ 0 w 787"/>
                  <a:gd name="T5" fmla="*/ 45 h 434"/>
                  <a:gd name="T6" fmla="*/ 764 w 787"/>
                  <a:gd name="T7" fmla="*/ 434 h 434"/>
                  <a:gd name="T8" fmla="*/ 787 w 787"/>
                  <a:gd name="T9" fmla="*/ 390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7" h="434">
                    <a:moveTo>
                      <a:pt x="787" y="390"/>
                    </a:moveTo>
                    <a:lnTo>
                      <a:pt x="22" y="0"/>
                    </a:lnTo>
                    <a:cubicBezTo>
                      <a:pt x="15" y="16"/>
                      <a:pt x="8" y="31"/>
                      <a:pt x="0" y="45"/>
                    </a:cubicBezTo>
                    <a:lnTo>
                      <a:pt x="764" y="434"/>
                    </a:lnTo>
                    <a:cubicBezTo>
                      <a:pt x="771" y="419"/>
                      <a:pt x="779" y="404"/>
                      <a:pt x="787" y="39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49" name="Freeform 8">
                <a:extLst>
                  <a:ext uri="{FF2B5EF4-FFF2-40B4-BE49-F238E27FC236}">
                    <a16:creationId xmlns:a16="http://schemas.microsoft.com/office/drawing/2014/main" id="{C6903C28-1D45-43E2-AADC-724A79E87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938" y="2659063"/>
                <a:ext cx="844550" cy="142875"/>
              </a:xfrm>
              <a:custGeom>
                <a:avLst/>
                <a:gdLst>
                  <a:gd name="T0" fmla="*/ 4 w 1109"/>
                  <a:gd name="T1" fmla="*/ 0 h 188"/>
                  <a:gd name="T2" fmla="*/ 0 w 1109"/>
                  <a:gd name="T3" fmla="*/ 50 h 188"/>
                  <a:gd name="T4" fmla="*/ 1103 w 1109"/>
                  <a:gd name="T5" fmla="*/ 188 h 188"/>
                  <a:gd name="T6" fmla="*/ 1109 w 1109"/>
                  <a:gd name="T7" fmla="*/ 138 h 188"/>
                  <a:gd name="T8" fmla="*/ 4 w 1109"/>
                  <a:gd name="T9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9" h="188">
                    <a:moveTo>
                      <a:pt x="4" y="0"/>
                    </a:moveTo>
                    <a:cubicBezTo>
                      <a:pt x="3" y="16"/>
                      <a:pt x="2" y="33"/>
                      <a:pt x="0" y="50"/>
                    </a:cubicBezTo>
                    <a:lnTo>
                      <a:pt x="1103" y="188"/>
                    </a:lnTo>
                    <a:cubicBezTo>
                      <a:pt x="1105" y="171"/>
                      <a:pt x="1107" y="155"/>
                      <a:pt x="1109" y="138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0" name="Freeform 9">
                <a:extLst>
                  <a:ext uri="{FF2B5EF4-FFF2-40B4-BE49-F238E27FC236}">
                    <a16:creationId xmlns:a16="http://schemas.microsoft.com/office/drawing/2014/main" id="{C0CD187D-A870-4B50-B0E4-F28323C4C2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0938" y="3257550"/>
                <a:ext cx="258763" cy="685800"/>
              </a:xfrm>
              <a:custGeom>
                <a:avLst/>
                <a:gdLst>
                  <a:gd name="T0" fmla="*/ 0 w 340"/>
                  <a:gd name="T1" fmla="*/ 16 h 900"/>
                  <a:gd name="T2" fmla="*/ 293 w 340"/>
                  <a:gd name="T3" fmla="*/ 900 h 900"/>
                  <a:gd name="T4" fmla="*/ 340 w 340"/>
                  <a:gd name="T5" fmla="*/ 885 h 900"/>
                  <a:gd name="T6" fmla="*/ 47 w 340"/>
                  <a:gd name="T7" fmla="*/ 0 h 900"/>
                  <a:gd name="T8" fmla="*/ 0 w 340"/>
                  <a:gd name="T9" fmla="*/ 16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0" h="900">
                    <a:moveTo>
                      <a:pt x="0" y="16"/>
                    </a:moveTo>
                    <a:lnTo>
                      <a:pt x="293" y="900"/>
                    </a:lnTo>
                    <a:cubicBezTo>
                      <a:pt x="308" y="894"/>
                      <a:pt x="324" y="889"/>
                      <a:pt x="340" y="885"/>
                    </a:cubicBezTo>
                    <a:lnTo>
                      <a:pt x="47" y="0"/>
                    </a:lnTo>
                    <a:cubicBezTo>
                      <a:pt x="32" y="6"/>
                      <a:pt x="16" y="11"/>
                      <a:pt x="0" y="16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1" name="Freeform 10">
                <a:extLst>
                  <a:ext uri="{FF2B5EF4-FFF2-40B4-BE49-F238E27FC236}">
                    <a16:creationId xmlns:a16="http://schemas.microsoft.com/office/drawing/2014/main" id="{831FF2EC-86EA-464F-ABA5-C72749129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588" y="3743325"/>
                <a:ext cx="514350" cy="465138"/>
              </a:xfrm>
              <a:custGeom>
                <a:avLst/>
                <a:gdLst>
                  <a:gd name="T0" fmla="*/ 34 w 674"/>
                  <a:gd name="T1" fmla="*/ 609 h 609"/>
                  <a:gd name="T2" fmla="*/ 674 w 674"/>
                  <a:gd name="T3" fmla="*/ 37 h 609"/>
                  <a:gd name="T4" fmla="*/ 640 w 674"/>
                  <a:gd name="T5" fmla="*/ 0 h 609"/>
                  <a:gd name="T6" fmla="*/ 0 w 674"/>
                  <a:gd name="T7" fmla="*/ 572 h 609"/>
                  <a:gd name="T8" fmla="*/ 34 w 674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4" h="609">
                    <a:moveTo>
                      <a:pt x="34" y="609"/>
                    </a:moveTo>
                    <a:lnTo>
                      <a:pt x="674" y="37"/>
                    </a:lnTo>
                    <a:cubicBezTo>
                      <a:pt x="662" y="25"/>
                      <a:pt x="651" y="13"/>
                      <a:pt x="640" y="0"/>
                    </a:cubicBezTo>
                    <a:lnTo>
                      <a:pt x="0" y="572"/>
                    </a:lnTo>
                    <a:cubicBezTo>
                      <a:pt x="12" y="584"/>
                      <a:pt x="23" y="597"/>
                      <a:pt x="34" y="609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2" name="Freeform 11">
                <a:extLst>
                  <a:ext uri="{FF2B5EF4-FFF2-40B4-BE49-F238E27FC236}">
                    <a16:creationId xmlns:a16="http://schemas.microsoft.com/office/drawing/2014/main" id="{D1A663B7-A33E-475B-8C9A-F776D26B4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3038" y="912813"/>
                <a:ext cx="231775" cy="820738"/>
              </a:xfrm>
              <a:custGeom>
                <a:avLst/>
                <a:gdLst>
                  <a:gd name="T0" fmla="*/ 48 w 304"/>
                  <a:gd name="T1" fmla="*/ 1076 h 1076"/>
                  <a:gd name="T2" fmla="*/ 304 w 304"/>
                  <a:gd name="T3" fmla="*/ 14 h 1076"/>
                  <a:gd name="T4" fmla="*/ 256 w 304"/>
                  <a:gd name="T5" fmla="*/ 0 h 1076"/>
                  <a:gd name="T6" fmla="*/ 0 w 304"/>
                  <a:gd name="T7" fmla="*/ 1062 h 1076"/>
                  <a:gd name="T8" fmla="*/ 48 w 304"/>
                  <a:gd name="T9" fmla="*/ 1076 h 10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4" h="1076">
                    <a:moveTo>
                      <a:pt x="48" y="1076"/>
                    </a:moveTo>
                    <a:lnTo>
                      <a:pt x="304" y="14"/>
                    </a:lnTo>
                    <a:cubicBezTo>
                      <a:pt x="288" y="10"/>
                      <a:pt x="272" y="5"/>
                      <a:pt x="256" y="0"/>
                    </a:cubicBezTo>
                    <a:lnTo>
                      <a:pt x="0" y="1062"/>
                    </a:lnTo>
                    <a:cubicBezTo>
                      <a:pt x="16" y="1066"/>
                      <a:pt x="32" y="1070"/>
                      <a:pt x="48" y="1076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3" name="Freeform 12">
                <a:extLst>
                  <a:ext uri="{FF2B5EF4-FFF2-40B4-BE49-F238E27FC236}">
                    <a16:creationId xmlns:a16="http://schemas.microsoft.com/office/drawing/2014/main" id="{56093550-6BE4-4627-9FF8-57A74E6B7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7176" y="1009650"/>
                <a:ext cx="1276350" cy="1133475"/>
              </a:xfrm>
              <a:custGeom>
                <a:avLst/>
                <a:gdLst>
                  <a:gd name="T0" fmla="*/ 35 w 1674"/>
                  <a:gd name="T1" fmla="*/ 0 h 1486"/>
                  <a:gd name="T2" fmla="*/ 12 w 1674"/>
                  <a:gd name="T3" fmla="*/ 25 h 1486"/>
                  <a:gd name="T4" fmla="*/ 0 w 1674"/>
                  <a:gd name="T5" fmla="*/ 36 h 1486"/>
                  <a:gd name="T6" fmla="*/ 1646 w 1674"/>
                  <a:gd name="T7" fmla="*/ 1486 h 1486"/>
                  <a:gd name="T8" fmla="*/ 1674 w 1674"/>
                  <a:gd name="T9" fmla="*/ 1444 h 1486"/>
                  <a:gd name="T10" fmla="*/ 35 w 1674"/>
                  <a:gd name="T11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4" h="1486">
                    <a:moveTo>
                      <a:pt x="35" y="0"/>
                    </a:moveTo>
                    <a:cubicBezTo>
                      <a:pt x="27" y="9"/>
                      <a:pt x="20" y="17"/>
                      <a:pt x="12" y="25"/>
                    </a:cubicBezTo>
                    <a:cubicBezTo>
                      <a:pt x="8" y="29"/>
                      <a:pt x="4" y="32"/>
                      <a:pt x="0" y="36"/>
                    </a:cubicBezTo>
                    <a:lnTo>
                      <a:pt x="1646" y="1486"/>
                    </a:lnTo>
                    <a:cubicBezTo>
                      <a:pt x="1655" y="1471"/>
                      <a:pt x="1664" y="1457"/>
                      <a:pt x="1674" y="1444"/>
                    </a:cubicBezTo>
                    <a:lnTo>
                      <a:pt x="35" y="0"/>
                    </a:ln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4" name="Freeform 13">
                <a:extLst>
                  <a:ext uri="{FF2B5EF4-FFF2-40B4-BE49-F238E27FC236}">
                    <a16:creationId xmlns:a16="http://schemas.microsoft.com/office/drawing/2014/main" id="{20358ABB-980B-4E15-B554-5F052BF18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926" y="1295400"/>
                <a:ext cx="38100" cy="579438"/>
              </a:xfrm>
              <a:custGeom>
                <a:avLst/>
                <a:gdLst>
                  <a:gd name="T0" fmla="*/ 17 w 50"/>
                  <a:gd name="T1" fmla="*/ 759 h 760"/>
                  <a:gd name="T2" fmla="*/ 50 w 50"/>
                  <a:gd name="T3" fmla="*/ 760 h 760"/>
                  <a:gd name="T4" fmla="*/ 50 w 50"/>
                  <a:gd name="T5" fmla="*/ 0 h 760"/>
                  <a:gd name="T6" fmla="*/ 24 w 50"/>
                  <a:gd name="T7" fmla="*/ 1 h 760"/>
                  <a:gd name="T8" fmla="*/ 0 w 50"/>
                  <a:gd name="T9" fmla="*/ 0 h 760"/>
                  <a:gd name="T10" fmla="*/ 0 w 50"/>
                  <a:gd name="T11" fmla="*/ 759 h 760"/>
                  <a:gd name="T12" fmla="*/ 17 w 50"/>
                  <a:gd name="T13" fmla="*/ 759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760">
                    <a:moveTo>
                      <a:pt x="17" y="759"/>
                    </a:moveTo>
                    <a:cubicBezTo>
                      <a:pt x="28" y="759"/>
                      <a:pt x="39" y="759"/>
                      <a:pt x="50" y="760"/>
                    </a:cubicBezTo>
                    <a:lnTo>
                      <a:pt x="50" y="0"/>
                    </a:lnTo>
                    <a:cubicBezTo>
                      <a:pt x="42" y="0"/>
                      <a:pt x="33" y="1"/>
                      <a:pt x="24" y="1"/>
                    </a:cubicBezTo>
                    <a:cubicBezTo>
                      <a:pt x="16" y="1"/>
                      <a:pt x="8" y="0"/>
                      <a:pt x="0" y="0"/>
                    </a:cubicBezTo>
                    <a:lnTo>
                      <a:pt x="0" y="759"/>
                    </a:lnTo>
                    <a:cubicBezTo>
                      <a:pt x="6" y="759"/>
                      <a:pt x="12" y="759"/>
                      <a:pt x="17" y="759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5" name="Freeform 14">
                <a:extLst>
                  <a:ext uri="{FF2B5EF4-FFF2-40B4-BE49-F238E27FC236}">
                    <a16:creationId xmlns:a16="http://schemas.microsoft.com/office/drawing/2014/main" id="{8B97D4BD-9C70-4DFF-94BE-361D10CFB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038" y="815975"/>
                <a:ext cx="1336675" cy="655638"/>
              </a:xfrm>
              <a:custGeom>
                <a:avLst/>
                <a:gdLst>
                  <a:gd name="T0" fmla="*/ 1732 w 1755"/>
                  <a:gd name="T1" fmla="*/ 0 h 859"/>
                  <a:gd name="T2" fmla="*/ 0 w 1755"/>
                  <a:gd name="T3" fmla="*/ 815 h 859"/>
                  <a:gd name="T4" fmla="*/ 24 w 1755"/>
                  <a:gd name="T5" fmla="*/ 859 h 859"/>
                  <a:gd name="T6" fmla="*/ 1755 w 1755"/>
                  <a:gd name="T7" fmla="*/ 45 h 859"/>
                  <a:gd name="T8" fmla="*/ 1732 w 1755"/>
                  <a:gd name="T9" fmla="*/ 0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5" h="859">
                    <a:moveTo>
                      <a:pt x="1732" y="0"/>
                    </a:moveTo>
                    <a:lnTo>
                      <a:pt x="0" y="815"/>
                    </a:lnTo>
                    <a:cubicBezTo>
                      <a:pt x="8" y="829"/>
                      <a:pt x="16" y="844"/>
                      <a:pt x="24" y="859"/>
                    </a:cubicBezTo>
                    <a:lnTo>
                      <a:pt x="1755" y="45"/>
                    </a:lnTo>
                    <a:cubicBezTo>
                      <a:pt x="1747" y="31"/>
                      <a:pt x="1739" y="16"/>
                      <a:pt x="1732" y="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6" name="Freeform 15">
                <a:extLst>
                  <a:ext uri="{FF2B5EF4-FFF2-40B4-BE49-F238E27FC236}">
                    <a16:creationId xmlns:a16="http://schemas.microsoft.com/office/drawing/2014/main" id="{0CAB7545-706E-411B-9F85-912E0DCE2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2851" y="146050"/>
                <a:ext cx="236538" cy="711200"/>
              </a:xfrm>
              <a:custGeom>
                <a:avLst/>
                <a:gdLst>
                  <a:gd name="T0" fmla="*/ 0 w 310"/>
                  <a:gd name="T1" fmla="*/ 15 h 933"/>
                  <a:gd name="T2" fmla="*/ 261 w 310"/>
                  <a:gd name="T3" fmla="*/ 933 h 933"/>
                  <a:gd name="T4" fmla="*/ 310 w 310"/>
                  <a:gd name="T5" fmla="*/ 921 h 933"/>
                  <a:gd name="T6" fmla="*/ 48 w 310"/>
                  <a:gd name="T7" fmla="*/ 0 h 933"/>
                  <a:gd name="T8" fmla="*/ 0 w 310"/>
                  <a:gd name="T9" fmla="*/ 15 h 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0" h="933">
                    <a:moveTo>
                      <a:pt x="0" y="15"/>
                    </a:moveTo>
                    <a:lnTo>
                      <a:pt x="261" y="933"/>
                    </a:lnTo>
                    <a:cubicBezTo>
                      <a:pt x="278" y="928"/>
                      <a:pt x="294" y="924"/>
                      <a:pt x="310" y="921"/>
                    </a:cubicBezTo>
                    <a:lnTo>
                      <a:pt x="48" y="0"/>
                    </a:lnTo>
                    <a:cubicBezTo>
                      <a:pt x="32" y="6"/>
                      <a:pt x="16" y="10"/>
                      <a:pt x="0" y="15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7" name="Freeform 16">
                <a:extLst>
                  <a:ext uri="{FF2B5EF4-FFF2-40B4-BE49-F238E27FC236}">
                    <a16:creationId xmlns:a16="http://schemas.microsoft.com/office/drawing/2014/main" id="{B291CF1C-171D-4108-BEE7-4BE272449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613" y="-1398588"/>
                <a:ext cx="277813" cy="1130300"/>
              </a:xfrm>
              <a:custGeom>
                <a:avLst/>
                <a:gdLst>
                  <a:gd name="T0" fmla="*/ 48 w 364"/>
                  <a:gd name="T1" fmla="*/ 1484 h 1484"/>
                  <a:gd name="T2" fmla="*/ 364 w 364"/>
                  <a:gd name="T3" fmla="*/ 10 h 1484"/>
                  <a:gd name="T4" fmla="*/ 315 w 364"/>
                  <a:gd name="T5" fmla="*/ 0 h 1484"/>
                  <a:gd name="T6" fmla="*/ 0 w 364"/>
                  <a:gd name="T7" fmla="*/ 1471 h 1484"/>
                  <a:gd name="T8" fmla="*/ 48 w 364"/>
                  <a:gd name="T9" fmla="*/ 1484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4" h="1484">
                    <a:moveTo>
                      <a:pt x="48" y="1484"/>
                    </a:moveTo>
                    <a:lnTo>
                      <a:pt x="364" y="10"/>
                    </a:lnTo>
                    <a:cubicBezTo>
                      <a:pt x="347" y="7"/>
                      <a:pt x="331" y="4"/>
                      <a:pt x="315" y="0"/>
                    </a:cubicBezTo>
                    <a:lnTo>
                      <a:pt x="0" y="1471"/>
                    </a:lnTo>
                    <a:cubicBezTo>
                      <a:pt x="16" y="1474"/>
                      <a:pt x="33" y="1479"/>
                      <a:pt x="48" y="1484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8" name="Freeform 17">
                <a:extLst>
                  <a:ext uri="{FF2B5EF4-FFF2-40B4-BE49-F238E27FC236}">
                    <a16:creationId xmlns:a16="http://schemas.microsoft.com/office/drawing/2014/main" id="{E7441315-572D-4B4E-A9C6-ACD3E954E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8901" y="-1176338"/>
                <a:ext cx="866775" cy="635000"/>
              </a:xfrm>
              <a:custGeom>
                <a:avLst/>
                <a:gdLst>
                  <a:gd name="T0" fmla="*/ 1108 w 1138"/>
                  <a:gd name="T1" fmla="*/ 0 h 833"/>
                  <a:gd name="T2" fmla="*/ 0 w 1138"/>
                  <a:gd name="T3" fmla="*/ 795 h 833"/>
                  <a:gd name="T4" fmla="*/ 34 w 1138"/>
                  <a:gd name="T5" fmla="*/ 833 h 833"/>
                  <a:gd name="T6" fmla="*/ 1138 w 1138"/>
                  <a:gd name="T7" fmla="*/ 40 h 833"/>
                  <a:gd name="T8" fmla="*/ 1108 w 1138"/>
                  <a:gd name="T9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8" h="833">
                    <a:moveTo>
                      <a:pt x="1108" y="0"/>
                    </a:moveTo>
                    <a:lnTo>
                      <a:pt x="0" y="795"/>
                    </a:lnTo>
                    <a:cubicBezTo>
                      <a:pt x="12" y="807"/>
                      <a:pt x="23" y="819"/>
                      <a:pt x="34" y="833"/>
                    </a:cubicBezTo>
                    <a:lnTo>
                      <a:pt x="1138" y="40"/>
                    </a:lnTo>
                    <a:cubicBezTo>
                      <a:pt x="1127" y="27"/>
                      <a:pt x="1117" y="14"/>
                      <a:pt x="1108" y="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59" name="Freeform 18">
                <a:extLst>
                  <a:ext uri="{FF2B5EF4-FFF2-40B4-BE49-F238E27FC236}">
                    <a16:creationId xmlns:a16="http://schemas.microsoft.com/office/drawing/2014/main" id="{07C6A0C7-F471-4CA7-A7DE-E566CFAB55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48913" y="2573338"/>
                <a:ext cx="615950" cy="931863"/>
              </a:xfrm>
              <a:custGeom>
                <a:avLst/>
                <a:gdLst>
                  <a:gd name="T0" fmla="*/ 41 w 809"/>
                  <a:gd name="T1" fmla="*/ 1224 h 1224"/>
                  <a:gd name="T2" fmla="*/ 809 w 809"/>
                  <a:gd name="T3" fmla="*/ 28 h 1224"/>
                  <a:gd name="T4" fmla="*/ 768 w 809"/>
                  <a:gd name="T5" fmla="*/ 0 h 1224"/>
                  <a:gd name="T6" fmla="*/ 0 w 809"/>
                  <a:gd name="T7" fmla="*/ 1196 h 1224"/>
                  <a:gd name="T8" fmla="*/ 41 w 809"/>
                  <a:gd name="T9" fmla="*/ 1224 h 1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9" h="1224">
                    <a:moveTo>
                      <a:pt x="41" y="1224"/>
                    </a:moveTo>
                    <a:lnTo>
                      <a:pt x="809" y="28"/>
                    </a:lnTo>
                    <a:cubicBezTo>
                      <a:pt x="795" y="19"/>
                      <a:pt x="781" y="10"/>
                      <a:pt x="768" y="0"/>
                    </a:cubicBezTo>
                    <a:lnTo>
                      <a:pt x="0" y="1196"/>
                    </a:lnTo>
                    <a:cubicBezTo>
                      <a:pt x="14" y="1205"/>
                      <a:pt x="28" y="1214"/>
                      <a:pt x="41" y="1224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0" name="Freeform 19">
                <a:extLst>
                  <a:ext uri="{FF2B5EF4-FFF2-40B4-BE49-F238E27FC236}">
                    <a16:creationId xmlns:a16="http://schemas.microsoft.com/office/drawing/2014/main" id="{CA7B8CA8-E657-4DC0-9CED-1D5DB28FC5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48938" y="4640263"/>
                <a:ext cx="590550" cy="471488"/>
              </a:xfrm>
              <a:custGeom>
                <a:avLst/>
                <a:gdLst>
                  <a:gd name="T0" fmla="*/ 774 w 774"/>
                  <a:gd name="T1" fmla="*/ 582 h 619"/>
                  <a:gd name="T2" fmla="*/ 33 w 774"/>
                  <a:gd name="T3" fmla="*/ 0 h 619"/>
                  <a:gd name="T4" fmla="*/ 0 w 774"/>
                  <a:gd name="T5" fmla="*/ 38 h 619"/>
                  <a:gd name="T6" fmla="*/ 740 w 774"/>
                  <a:gd name="T7" fmla="*/ 619 h 619"/>
                  <a:gd name="T8" fmla="*/ 774 w 774"/>
                  <a:gd name="T9" fmla="*/ 582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4" h="619">
                    <a:moveTo>
                      <a:pt x="774" y="582"/>
                    </a:moveTo>
                    <a:lnTo>
                      <a:pt x="33" y="0"/>
                    </a:lnTo>
                    <a:cubicBezTo>
                      <a:pt x="23" y="13"/>
                      <a:pt x="12" y="26"/>
                      <a:pt x="0" y="38"/>
                    </a:cubicBezTo>
                    <a:lnTo>
                      <a:pt x="740" y="619"/>
                    </a:lnTo>
                    <a:cubicBezTo>
                      <a:pt x="751" y="606"/>
                      <a:pt x="762" y="594"/>
                      <a:pt x="774" y="582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1" name="Freeform 20">
                <a:extLst>
                  <a:ext uri="{FF2B5EF4-FFF2-40B4-BE49-F238E27FC236}">
                    <a16:creationId xmlns:a16="http://schemas.microsoft.com/office/drawing/2014/main" id="{08EB1F24-8F56-46D7-9E83-725E3504F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4288" y="6281738"/>
                <a:ext cx="933450" cy="700088"/>
              </a:xfrm>
              <a:custGeom>
                <a:avLst/>
                <a:gdLst>
                  <a:gd name="T0" fmla="*/ 31 w 1225"/>
                  <a:gd name="T1" fmla="*/ 920 h 920"/>
                  <a:gd name="T2" fmla="*/ 1225 w 1225"/>
                  <a:gd name="T3" fmla="*/ 40 h 920"/>
                  <a:gd name="T4" fmla="*/ 1196 w 1225"/>
                  <a:gd name="T5" fmla="*/ 0 h 920"/>
                  <a:gd name="T6" fmla="*/ 0 w 1225"/>
                  <a:gd name="T7" fmla="*/ 881 h 920"/>
                  <a:gd name="T8" fmla="*/ 31 w 1225"/>
                  <a:gd name="T9" fmla="*/ 920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5" h="920">
                    <a:moveTo>
                      <a:pt x="31" y="920"/>
                    </a:moveTo>
                    <a:lnTo>
                      <a:pt x="1225" y="40"/>
                    </a:lnTo>
                    <a:cubicBezTo>
                      <a:pt x="1215" y="27"/>
                      <a:pt x="1205" y="14"/>
                      <a:pt x="1196" y="0"/>
                    </a:cubicBezTo>
                    <a:lnTo>
                      <a:pt x="0" y="881"/>
                    </a:lnTo>
                    <a:cubicBezTo>
                      <a:pt x="11" y="893"/>
                      <a:pt x="22" y="906"/>
                      <a:pt x="31" y="92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2" name="Freeform 21">
                <a:extLst>
                  <a:ext uri="{FF2B5EF4-FFF2-40B4-BE49-F238E27FC236}">
                    <a16:creationId xmlns:a16="http://schemas.microsoft.com/office/drawing/2014/main" id="{ED7F8AAA-2C1A-4B02-9B20-71CE2270F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9726" y="7137400"/>
                <a:ext cx="625475" cy="182563"/>
              </a:xfrm>
              <a:custGeom>
                <a:avLst/>
                <a:gdLst>
                  <a:gd name="T0" fmla="*/ 8 w 822"/>
                  <a:gd name="T1" fmla="*/ 0 h 240"/>
                  <a:gd name="T2" fmla="*/ 0 w 822"/>
                  <a:gd name="T3" fmla="*/ 50 h 240"/>
                  <a:gd name="T4" fmla="*/ 812 w 822"/>
                  <a:gd name="T5" fmla="*/ 240 h 240"/>
                  <a:gd name="T6" fmla="*/ 818 w 822"/>
                  <a:gd name="T7" fmla="*/ 209 h 240"/>
                  <a:gd name="T8" fmla="*/ 822 w 822"/>
                  <a:gd name="T9" fmla="*/ 192 h 240"/>
                  <a:gd name="T10" fmla="*/ 8 w 822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2" h="240">
                    <a:moveTo>
                      <a:pt x="8" y="0"/>
                    </a:moveTo>
                    <a:cubicBezTo>
                      <a:pt x="6" y="17"/>
                      <a:pt x="3" y="33"/>
                      <a:pt x="0" y="50"/>
                    </a:cubicBezTo>
                    <a:lnTo>
                      <a:pt x="812" y="240"/>
                    </a:lnTo>
                    <a:cubicBezTo>
                      <a:pt x="813" y="230"/>
                      <a:pt x="815" y="219"/>
                      <a:pt x="818" y="209"/>
                    </a:cubicBezTo>
                    <a:cubicBezTo>
                      <a:pt x="819" y="203"/>
                      <a:pt x="821" y="197"/>
                      <a:pt x="822" y="192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3" name="Freeform 22">
                <a:extLst>
                  <a:ext uri="{FF2B5EF4-FFF2-40B4-BE49-F238E27FC236}">
                    <a16:creationId xmlns:a16="http://schemas.microsoft.com/office/drawing/2014/main" id="{0BA27D91-51D7-40B1-A6EB-1FD773D61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8363" y="5481638"/>
                <a:ext cx="384175" cy="544513"/>
              </a:xfrm>
              <a:custGeom>
                <a:avLst/>
                <a:gdLst>
                  <a:gd name="T0" fmla="*/ 43 w 503"/>
                  <a:gd name="T1" fmla="*/ 0 h 716"/>
                  <a:gd name="T2" fmla="*/ 0 w 503"/>
                  <a:gd name="T3" fmla="*/ 27 h 716"/>
                  <a:gd name="T4" fmla="*/ 464 w 503"/>
                  <a:gd name="T5" fmla="*/ 716 h 716"/>
                  <a:gd name="T6" fmla="*/ 503 w 503"/>
                  <a:gd name="T7" fmla="*/ 684 h 716"/>
                  <a:gd name="T8" fmla="*/ 43 w 503"/>
                  <a:gd name="T9" fmla="*/ 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3" h="716">
                    <a:moveTo>
                      <a:pt x="43" y="0"/>
                    </a:moveTo>
                    <a:cubicBezTo>
                      <a:pt x="29" y="10"/>
                      <a:pt x="15" y="19"/>
                      <a:pt x="0" y="27"/>
                    </a:cubicBezTo>
                    <a:lnTo>
                      <a:pt x="464" y="716"/>
                    </a:lnTo>
                    <a:cubicBezTo>
                      <a:pt x="476" y="705"/>
                      <a:pt x="489" y="694"/>
                      <a:pt x="503" y="684"/>
                    </a:cubicBez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4" name="Freeform 23">
                <a:extLst>
                  <a:ext uri="{FF2B5EF4-FFF2-40B4-BE49-F238E27FC236}">
                    <a16:creationId xmlns:a16="http://schemas.microsoft.com/office/drawing/2014/main" id="{E0E6F379-A294-44D9-8970-C670CE638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988" y="4803775"/>
                <a:ext cx="827088" cy="96838"/>
              </a:xfrm>
              <a:custGeom>
                <a:avLst/>
                <a:gdLst>
                  <a:gd name="T0" fmla="*/ 1061 w 1084"/>
                  <a:gd name="T1" fmla="*/ 0 h 127"/>
                  <a:gd name="T2" fmla="*/ 0 w 1084"/>
                  <a:gd name="T3" fmla="*/ 78 h 127"/>
                  <a:gd name="T4" fmla="*/ 8 w 1084"/>
                  <a:gd name="T5" fmla="*/ 127 h 127"/>
                  <a:gd name="T6" fmla="*/ 1084 w 1084"/>
                  <a:gd name="T7" fmla="*/ 49 h 127"/>
                  <a:gd name="T8" fmla="*/ 1061 w 1084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4" h="127">
                    <a:moveTo>
                      <a:pt x="1061" y="0"/>
                    </a:moveTo>
                    <a:lnTo>
                      <a:pt x="0" y="78"/>
                    </a:lnTo>
                    <a:cubicBezTo>
                      <a:pt x="4" y="94"/>
                      <a:pt x="6" y="111"/>
                      <a:pt x="8" y="127"/>
                    </a:cubicBezTo>
                    <a:lnTo>
                      <a:pt x="1084" y="49"/>
                    </a:lnTo>
                    <a:cubicBezTo>
                      <a:pt x="1076" y="33"/>
                      <a:pt x="1068" y="17"/>
                      <a:pt x="1061" y="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5" name="Freeform 24">
                <a:extLst>
                  <a:ext uri="{FF2B5EF4-FFF2-40B4-BE49-F238E27FC236}">
                    <a16:creationId xmlns:a16="http://schemas.microsoft.com/office/drawing/2014/main" id="{FEDBA6EF-7C4A-4A7E-B362-BC2A805F4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8526" y="2930525"/>
                <a:ext cx="609600" cy="1308100"/>
              </a:xfrm>
              <a:custGeom>
                <a:avLst/>
                <a:gdLst>
                  <a:gd name="T0" fmla="*/ 46 w 800"/>
                  <a:gd name="T1" fmla="*/ 0 h 1715"/>
                  <a:gd name="T2" fmla="*/ 0 w 800"/>
                  <a:gd name="T3" fmla="*/ 18 h 1715"/>
                  <a:gd name="T4" fmla="*/ 753 w 800"/>
                  <a:gd name="T5" fmla="*/ 1715 h 1715"/>
                  <a:gd name="T6" fmla="*/ 800 w 800"/>
                  <a:gd name="T7" fmla="*/ 1697 h 1715"/>
                  <a:gd name="T8" fmla="*/ 46 w 800"/>
                  <a:gd name="T9" fmla="*/ 0 h 1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0" h="1715">
                    <a:moveTo>
                      <a:pt x="46" y="0"/>
                    </a:moveTo>
                    <a:cubicBezTo>
                      <a:pt x="31" y="6"/>
                      <a:pt x="15" y="12"/>
                      <a:pt x="0" y="18"/>
                    </a:cubicBezTo>
                    <a:lnTo>
                      <a:pt x="753" y="1715"/>
                    </a:lnTo>
                    <a:cubicBezTo>
                      <a:pt x="769" y="1708"/>
                      <a:pt x="785" y="1703"/>
                      <a:pt x="800" y="1697"/>
                    </a:cubicBezTo>
                    <a:lnTo>
                      <a:pt x="46" y="0"/>
                    </a:ln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6" name="Freeform 25">
                <a:extLst>
                  <a:ext uri="{FF2B5EF4-FFF2-40B4-BE49-F238E27FC236}">
                    <a16:creationId xmlns:a16="http://schemas.microsoft.com/office/drawing/2014/main" id="{ECEED6EC-8F10-4CF0-A63C-B7144DB63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51" y="2482850"/>
                <a:ext cx="693738" cy="442913"/>
              </a:xfrm>
              <a:custGeom>
                <a:avLst/>
                <a:gdLst>
                  <a:gd name="T0" fmla="*/ 880 w 909"/>
                  <a:gd name="T1" fmla="*/ 0 h 582"/>
                  <a:gd name="T2" fmla="*/ 0 w 909"/>
                  <a:gd name="T3" fmla="*/ 541 h 582"/>
                  <a:gd name="T4" fmla="*/ 29 w 909"/>
                  <a:gd name="T5" fmla="*/ 582 h 582"/>
                  <a:gd name="T6" fmla="*/ 909 w 909"/>
                  <a:gd name="T7" fmla="*/ 42 h 582"/>
                  <a:gd name="T8" fmla="*/ 880 w 909"/>
                  <a:gd name="T9" fmla="*/ 0 h 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9" h="582">
                    <a:moveTo>
                      <a:pt x="880" y="0"/>
                    </a:moveTo>
                    <a:lnTo>
                      <a:pt x="0" y="541"/>
                    </a:lnTo>
                    <a:cubicBezTo>
                      <a:pt x="10" y="554"/>
                      <a:pt x="20" y="568"/>
                      <a:pt x="29" y="582"/>
                    </a:cubicBezTo>
                    <a:lnTo>
                      <a:pt x="909" y="42"/>
                    </a:lnTo>
                    <a:cubicBezTo>
                      <a:pt x="899" y="28"/>
                      <a:pt x="889" y="15"/>
                      <a:pt x="880" y="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7" name="Freeform 26">
                <a:extLst>
                  <a:ext uri="{FF2B5EF4-FFF2-40B4-BE49-F238E27FC236}">
                    <a16:creationId xmlns:a16="http://schemas.microsoft.com/office/drawing/2014/main" id="{58396EE8-149C-47E4-B158-CCD7DE06F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7226" y="5688013"/>
                <a:ext cx="128588" cy="500063"/>
              </a:xfrm>
              <a:custGeom>
                <a:avLst/>
                <a:gdLst>
                  <a:gd name="T0" fmla="*/ 0 w 170"/>
                  <a:gd name="T1" fmla="*/ 12 h 655"/>
                  <a:gd name="T2" fmla="*/ 120 w 170"/>
                  <a:gd name="T3" fmla="*/ 655 h 655"/>
                  <a:gd name="T4" fmla="*/ 170 w 170"/>
                  <a:gd name="T5" fmla="*/ 648 h 655"/>
                  <a:gd name="T6" fmla="*/ 49 w 170"/>
                  <a:gd name="T7" fmla="*/ 0 h 655"/>
                  <a:gd name="T8" fmla="*/ 0 w 170"/>
                  <a:gd name="T9" fmla="*/ 12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" h="655">
                    <a:moveTo>
                      <a:pt x="0" y="12"/>
                    </a:moveTo>
                    <a:lnTo>
                      <a:pt x="120" y="655"/>
                    </a:lnTo>
                    <a:cubicBezTo>
                      <a:pt x="137" y="652"/>
                      <a:pt x="153" y="650"/>
                      <a:pt x="170" y="648"/>
                    </a:cubicBezTo>
                    <a:lnTo>
                      <a:pt x="49" y="0"/>
                    </a:lnTo>
                    <a:cubicBezTo>
                      <a:pt x="33" y="5"/>
                      <a:pt x="17" y="9"/>
                      <a:pt x="0" y="12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8" name="Freeform 27">
                <a:extLst>
                  <a:ext uri="{FF2B5EF4-FFF2-40B4-BE49-F238E27FC236}">
                    <a16:creationId xmlns:a16="http://schemas.microsoft.com/office/drawing/2014/main" id="{BA15F7F3-A902-489D-850C-EB3C29C6C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1376" y="7016750"/>
                <a:ext cx="1204913" cy="180975"/>
              </a:xfrm>
              <a:custGeom>
                <a:avLst/>
                <a:gdLst>
                  <a:gd name="T0" fmla="*/ 8 w 1580"/>
                  <a:gd name="T1" fmla="*/ 236 h 236"/>
                  <a:gd name="T2" fmla="*/ 1580 w 1580"/>
                  <a:gd name="T3" fmla="*/ 50 h 236"/>
                  <a:gd name="T4" fmla="*/ 1575 w 1580"/>
                  <a:gd name="T5" fmla="*/ 0 h 236"/>
                  <a:gd name="T6" fmla="*/ 0 w 1580"/>
                  <a:gd name="T7" fmla="*/ 186 h 236"/>
                  <a:gd name="T8" fmla="*/ 8 w 1580"/>
                  <a:gd name="T9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0" h="236">
                    <a:moveTo>
                      <a:pt x="8" y="236"/>
                    </a:moveTo>
                    <a:lnTo>
                      <a:pt x="1580" y="50"/>
                    </a:lnTo>
                    <a:cubicBezTo>
                      <a:pt x="1578" y="34"/>
                      <a:pt x="1576" y="17"/>
                      <a:pt x="1575" y="0"/>
                    </a:cubicBezTo>
                    <a:lnTo>
                      <a:pt x="0" y="186"/>
                    </a:lnTo>
                    <a:cubicBezTo>
                      <a:pt x="3" y="203"/>
                      <a:pt x="6" y="219"/>
                      <a:pt x="8" y="236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69" name="Freeform 28">
                <a:extLst>
                  <a:ext uri="{FF2B5EF4-FFF2-40B4-BE49-F238E27FC236}">
                    <a16:creationId xmlns:a16="http://schemas.microsoft.com/office/drawing/2014/main" id="{D41E3A03-24A4-4D10-B399-8B706B713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2613" y="7991475"/>
                <a:ext cx="58738" cy="703263"/>
              </a:xfrm>
              <a:custGeom>
                <a:avLst/>
                <a:gdLst>
                  <a:gd name="T0" fmla="*/ 61 w 77"/>
                  <a:gd name="T1" fmla="*/ 922 h 923"/>
                  <a:gd name="T2" fmla="*/ 77 w 77"/>
                  <a:gd name="T3" fmla="*/ 922 h 923"/>
                  <a:gd name="T4" fmla="*/ 50 w 77"/>
                  <a:gd name="T5" fmla="*/ 2 h 923"/>
                  <a:gd name="T6" fmla="*/ 44 w 77"/>
                  <a:gd name="T7" fmla="*/ 2 h 923"/>
                  <a:gd name="T8" fmla="*/ 0 w 77"/>
                  <a:gd name="T9" fmla="*/ 0 h 923"/>
                  <a:gd name="T10" fmla="*/ 27 w 77"/>
                  <a:gd name="T11" fmla="*/ 923 h 923"/>
                  <a:gd name="T12" fmla="*/ 61 w 77"/>
                  <a:gd name="T13" fmla="*/ 922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923">
                    <a:moveTo>
                      <a:pt x="61" y="922"/>
                    </a:moveTo>
                    <a:cubicBezTo>
                      <a:pt x="66" y="922"/>
                      <a:pt x="71" y="922"/>
                      <a:pt x="77" y="922"/>
                    </a:cubicBezTo>
                    <a:lnTo>
                      <a:pt x="50" y="2"/>
                    </a:lnTo>
                    <a:cubicBezTo>
                      <a:pt x="48" y="2"/>
                      <a:pt x="46" y="2"/>
                      <a:pt x="44" y="2"/>
                    </a:cubicBezTo>
                    <a:cubicBezTo>
                      <a:pt x="29" y="2"/>
                      <a:pt x="14" y="2"/>
                      <a:pt x="0" y="0"/>
                    </a:cubicBezTo>
                    <a:lnTo>
                      <a:pt x="27" y="923"/>
                    </a:lnTo>
                    <a:cubicBezTo>
                      <a:pt x="38" y="922"/>
                      <a:pt x="50" y="922"/>
                      <a:pt x="61" y="922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0" name="Freeform 29">
                <a:extLst>
                  <a:ext uri="{FF2B5EF4-FFF2-40B4-BE49-F238E27FC236}">
                    <a16:creationId xmlns:a16="http://schemas.microsoft.com/office/drawing/2014/main" id="{DCD455A7-8E61-47FA-A157-CCD85549E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3951" y="5340350"/>
                <a:ext cx="1322388" cy="879475"/>
              </a:xfrm>
              <a:custGeom>
                <a:avLst/>
                <a:gdLst>
                  <a:gd name="T0" fmla="*/ 28 w 1736"/>
                  <a:gd name="T1" fmla="*/ 1154 h 1154"/>
                  <a:gd name="T2" fmla="*/ 1736 w 1736"/>
                  <a:gd name="T3" fmla="*/ 40 h 1154"/>
                  <a:gd name="T4" fmla="*/ 1706 w 1736"/>
                  <a:gd name="T5" fmla="*/ 0 h 1154"/>
                  <a:gd name="T6" fmla="*/ 0 w 1736"/>
                  <a:gd name="T7" fmla="*/ 1112 h 1154"/>
                  <a:gd name="T8" fmla="*/ 28 w 1736"/>
                  <a:gd name="T9" fmla="*/ 1154 h 1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6" h="1154">
                    <a:moveTo>
                      <a:pt x="28" y="1154"/>
                    </a:moveTo>
                    <a:lnTo>
                      <a:pt x="1736" y="40"/>
                    </a:lnTo>
                    <a:cubicBezTo>
                      <a:pt x="1726" y="27"/>
                      <a:pt x="1716" y="14"/>
                      <a:pt x="1706" y="0"/>
                    </a:cubicBezTo>
                    <a:lnTo>
                      <a:pt x="0" y="1112"/>
                    </a:lnTo>
                    <a:cubicBezTo>
                      <a:pt x="10" y="1126"/>
                      <a:pt x="19" y="1140"/>
                      <a:pt x="28" y="1154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1" name="Freeform 30">
                <a:extLst>
                  <a:ext uri="{FF2B5EF4-FFF2-40B4-BE49-F238E27FC236}">
                    <a16:creationId xmlns:a16="http://schemas.microsoft.com/office/drawing/2014/main" id="{E751B306-7528-49A1-A6D0-B5A81D694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8938" y="5449888"/>
                <a:ext cx="754063" cy="966788"/>
              </a:xfrm>
              <a:custGeom>
                <a:avLst/>
                <a:gdLst>
                  <a:gd name="T0" fmla="*/ 950 w 990"/>
                  <a:gd name="T1" fmla="*/ 0 h 1268"/>
                  <a:gd name="T2" fmla="*/ 0 w 990"/>
                  <a:gd name="T3" fmla="*/ 1238 h 1268"/>
                  <a:gd name="T4" fmla="*/ 40 w 990"/>
                  <a:gd name="T5" fmla="*/ 1268 h 1268"/>
                  <a:gd name="T6" fmla="*/ 990 w 990"/>
                  <a:gd name="T7" fmla="*/ 30 h 1268"/>
                  <a:gd name="T8" fmla="*/ 950 w 990"/>
                  <a:gd name="T9" fmla="*/ 0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0" h="1268">
                    <a:moveTo>
                      <a:pt x="950" y="0"/>
                    </a:moveTo>
                    <a:lnTo>
                      <a:pt x="0" y="1238"/>
                    </a:lnTo>
                    <a:cubicBezTo>
                      <a:pt x="13" y="1248"/>
                      <a:pt x="27" y="1258"/>
                      <a:pt x="40" y="1268"/>
                    </a:cubicBezTo>
                    <a:lnTo>
                      <a:pt x="990" y="30"/>
                    </a:lnTo>
                    <a:cubicBezTo>
                      <a:pt x="976" y="20"/>
                      <a:pt x="963" y="11"/>
                      <a:pt x="950" y="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2" name="Freeform 31">
                <a:extLst>
                  <a:ext uri="{FF2B5EF4-FFF2-40B4-BE49-F238E27FC236}">
                    <a16:creationId xmlns:a16="http://schemas.microsoft.com/office/drawing/2014/main" id="{E2EDD939-6E21-4CE6-A7AE-32604F916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5313" y="3343275"/>
                <a:ext cx="103188" cy="822325"/>
              </a:xfrm>
              <a:custGeom>
                <a:avLst/>
                <a:gdLst>
                  <a:gd name="T0" fmla="*/ 133 w 135"/>
                  <a:gd name="T1" fmla="*/ 2 h 1079"/>
                  <a:gd name="T2" fmla="*/ 101 w 135"/>
                  <a:gd name="T3" fmla="*/ 0 h 1079"/>
                  <a:gd name="T4" fmla="*/ 0 w 135"/>
                  <a:gd name="T5" fmla="*/ 1073 h 1079"/>
                  <a:gd name="T6" fmla="*/ 33 w 135"/>
                  <a:gd name="T7" fmla="*/ 1079 h 1079"/>
                  <a:gd name="T8" fmla="*/ 135 w 135"/>
                  <a:gd name="T9" fmla="*/ 1 h 1079"/>
                  <a:gd name="T10" fmla="*/ 133 w 135"/>
                  <a:gd name="T11" fmla="*/ 2 h 1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5" h="1079">
                    <a:moveTo>
                      <a:pt x="133" y="2"/>
                    </a:moveTo>
                    <a:cubicBezTo>
                      <a:pt x="122" y="2"/>
                      <a:pt x="112" y="1"/>
                      <a:pt x="101" y="0"/>
                    </a:cubicBezTo>
                    <a:lnTo>
                      <a:pt x="0" y="1073"/>
                    </a:lnTo>
                    <a:cubicBezTo>
                      <a:pt x="11" y="1074"/>
                      <a:pt x="22" y="1076"/>
                      <a:pt x="33" y="1079"/>
                    </a:cubicBezTo>
                    <a:lnTo>
                      <a:pt x="135" y="1"/>
                    </a:lnTo>
                    <a:cubicBezTo>
                      <a:pt x="134" y="1"/>
                      <a:pt x="133" y="2"/>
                      <a:pt x="133" y="2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3" name="Freeform 32">
                <a:extLst>
                  <a:ext uri="{FF2B5EF4-FFF2-40B4-BE49-F238E27FC236}">
                    <a16:creationId xmlns:a16="http://schemas.microsoft.com/office/drawing/2014/main" id="{66DF3BE4-6318-47F7-A6FC-3E8A99AD6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588" y="2827338"/>
                <a:ext cx="644525" cy="257175"/>
              </a:xfrm>
              <a:custGeom>
                <a:avLst/>
                <a:gdLst>
                  <a:gd name="T0" fmla="*/ 11 w 847"/>
                  <a:gd name="T1" fmla="*/ 339 h 339"/>
                  <a:gd name="T2" fmla="*/ 847 w 847"/>
                  <a:gd name="T3" fmla="*/ 31 h 339"/>
                  <a:gd name="T4" fmla="*/ 834 w 847"/>
                  <a:gd name="T5" fmla="*/ 0 h 339"/>
                  <a:gd name="T6" fmla="*/ 0 w 847"/>
                  <a:gd name="T7" fmla="*/ 308 h 339"/>
                  <a:gd name="T8" fmla="*/ 11 w 847"/>
                  <a:gd name="T9" fmla="*/ 339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7" h="339">
                    <a:moveTo>
                      <a:pt x="11" y="339"/>
                    </a:moveTo>
                    <a:lnTo>
                      <a:pt x="847" y="31"/>
                    </a:lnTo>
                    <a:cubicBezTo>
                      <a:pt x="843" y="21"/>
                      <a:pt x="838" y="11"/>
                      <a:pt x="834" y="0"/>
                    </a:cubicBezTo>
                    <a:lnTo>
                      <a:pt x="0" y="308"/>
                    </a:lnTo>
                    <a:cubicBezTo>
                      <a:pt x="4" y="318"/>
                      <a:pt x="8" y="328"/>
                      <a:pt x="11" y="339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4" name="Freeform 33">
                <a:extLst>
                  <a:ext uri="{FF2B5EF4-FFF2-40B4-BE49-F238E27FC236}">
                    <a16:creationId xmlns:a16="http://schemas.microsoft.com/office/drawing/2014/main" id="{37DB6B7E-9983-4A6C-901A-B403F52A3E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3813" y="2581275"/>
                <a:ext cx="517525" cy="433388"/>
              </a:xfrm>
              <a:custGeom>
                <a:avLst/>
                <a:gdLst>
                  <a:gd name="T0" fmla="*/ 680 w 680"/>
                  <a:gd name="T1" fmla="*/ 543 h 569"/>
                  <a:gd name="T2" fmla="*/ 10 w 680"/>
                  <a:gd name="T3" fmla="*/ 0 h 569"/>
                  <a:gd name="T4" fmla="*/ 0 w 680"/>
                  <a:gd name="T5" fmla="*/ 35 h 569"/>
                  <a:gd name="T6" fmla="*/ 658 w 680"/>
                  <a:gd name="T7" fmla="*/ 569 h 569"/>
                  <a:gd name="T8" fmla="*/ 680 w 680"/>
                  <a:gd name="T9" fmla="*/ 543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0" h="569">
                    <a:moveTo>
                      <a:pt x="680" y="543"/>
                    </a:moveTo>
                    <a:lnTo>
                      <a:pt x="10" y="0"/>
                    </a:lnTo>
                    <a:cubicBezTo>
                      <a:pt x="9" y="12"/>
                      <a:pt x="5" y="24"/>
                      <a:pt x="0" y="35"/>
                    </a:cubicBezTo>
                    <a:lnTo>
                      <a:pt x="658" y="569"/>
                    </a:lnTo>
                    <a:cubicBezTo>
                      <a:pt x="665" y="560"/>
                      <a:pt x="672" y="551"/>
                      <a:pt x="680" y="543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5" name="Freeform 34">
                <a:extLst>
                  <a:ext uri="{FF2B5EF4-FFF2-40B4-BE49-F238E27FC236}">
                    <a16:creationId xmlns:a16="http://schemas.microsoft.com/office/drawing/2014/main" id="{7FF3EE5B-C440-4584-9A14-C69161981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9238" y="-671513"/>
                <a:ext cx="696913" cy="638175"/>
              </a:xfrm>
              <a:custGeom>
                <a:avLst/>
                <a:gdLst>
                  <a:gd name="T0" fmla="*/ 29 w 915"/>
                  <a:gd name="T1" fmla="*/ 838 h 838"/>
                  <a:gd name="T2" fmla="*/ 915 w 915"/>
                  <a:gd name="T3" fmla="*/ 25 h 838"/>
                  <a:gd name="T4" fmla="*/ 892 w 915"/>
                  <a:gd name="T5" fmla="*/ 0 h 838"/>
                  <a:gd name="T6" fmla="*/ 0 w 915"/>
                  <a:gd name="T7" fmla="*/ 820 h 838"/>
                  <a:gd name="T8" fmla="*/ 29 w 915"/>
                  <a:gd name="T9" fmla="*/ 838 h 8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5" h="838">
                    <a:moveTo>
                      <a:pt x="29" y="838"/>
                    </a:moveTo>
                    <a:lnTo>
                      <a:pt x="915" y="25"/>
                    </a:lnTo>
                    <a:lnTo>
                      <a:pt x="892" y="0"/>
                    </a:lnTo>
                    <a:lnTo>
                      <a:pt x="0" y="820"/>
                    </a:lnTo>
                    <a:cubicBezTo>
                      <a:pt x="11" y="824"/>
                      <a:pt x="21" y="830"/>
                      <a:pt x="29" y="838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6" name="Freeform 35">
                <a:extLst>
                  <a:ext uri="{FF2B5EF4-FFF2-40B4-BE49-F238E27FC236}">
                    <a16:creationId xmlns:a16="http://schemas.microsoft.com/office/drawing/2014/main" id="{3ABBB101-7206-4EFD-AB58-01065154C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6926" y="-500063"/>
                <a:ext cx="765175" cy="549275"/>
              </a:xfrm>
              <a:custGeom>
                <a:avLst/>
                <a:gdLst>
                  <a:gd name="T0" fmla="*/ 19 w 1004"/>
                  <a:gd name="T1" fmla="*/ 0 h 719"/>
                  <a:gd name="T2" fmla="*/ 0 w 1004"/>
                  <a:gd name="T3" fmla="*/ 27 h 719"/>
                  <a:gd name="T4" fmla="*/ 988 w 1004"/>
                  <a:gd name="T5" fmla="*/ 719 h 719"/>
                  <a:gd name="T6" fmla="*/ 1004 w 1004"/>
                  <a:gd name="T7" fmla="*/ 690 h 719"/>
                  <a:gd name="T8" fmla="*/ 19 w 1004"/>
                  <a:gd name="T9" fmla="*/ 0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4" h="719">
                    <a:moveTo>
                      <a:pt x="19" y="0"/>
                    </a:moveTo>
                    <a:cubicBezTo>
                      <a:pt x="14" y="9"/>
                      <a:pt x="7" y="18"/>
                      <a:pt x="0" y="27"/>
                    </a:cubicBezTo>
                    <a:lnTo>
                      <a:pt x="988" y="719"/>
                    </a:lnTo>
                    <a:cubicBezTo>
                      <a:pt x="992" y="708"/>
                      <a:pt x="997" y="698"/>
                      <a:pt x="1004" y="690"/>
                    </a:cubicBez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7" name="Freeform 36">
                <a:extLst>
                  <a:ext uri="{FF2B5EF4-FFF2-40B4-BE49-F238E27FC236}">
                    <a16:creationId xmlns:a16="http://schemas.microsoft.com/office/drawing/2014/main" id="{6727446F-9DF6-495A-8CD6-1BB3A7984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5813" y="-1736725"/>
                <a:ext cx="1298575" cy="1017588"/>
              </a:xfrm>
              <a:custGeom>
                <a:avLst/>
                <a:gdLst>
                  <a:gd name="T0" fmla="*/ 20 w 1705"/>
                  <a:gd name="T1" fmla="*/ 1335 h 1335"/>
                  <a:gd name="T2" fmla="*/ 1705 w 1705"/>
                  <a:gd name="T3" fmla="*/ 24 h 1335"/>
                  <a:gd name="T4" fmla="*/ 1681 w 1705"/>
                  <a:gd name="T5" fmla="*/ 0 h 1335"/>
                  <a:gd name="T6" fmla="*/ 0 w 1705"/>
                  <a:gd name="T7" fmla="*/ 1308 h 1335"/>
                  <a:gd name="T8" fmla="*/ 20 w 1705"/>
                  <a:gd name="T9" fmla="*/ 1335 h 1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5" h="1335">
                    <a:moveTo>
                      <a:pt x="20" y="1335"/>
                    </a:moveTo>
                    <a:lnTo>
                      <a:pt x="1705" y="24"/>
                    </a:lnTo>
                    <a:cubicBezTo>
                      <a:pt x="1696" y="16"/>
                      <a:pt x="1688" y="8"/>
                      <a:pt x="1681" y="0"/>
                    </a:cubicBezTo>
                    <a:lnTo>
                      <a:pt x="0" y="1308"/>
                    </a:lnTo>
                    <a:cubicBezTo>
                      <a:pt x="7" y="1317"/>
                      <a:pt x="14" y="1325"/>
                      <a:pt x="20" y="1335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8" name="Freeform 37">
                <a:extLst>
                  <a:ext uri="{FF2B5EF4-FFF2-40B4-BE49-F238E27FC236}">
                    <a16:creationId xmlns:a16="http://schemas.microsoft.com/office/drawing/2014/main" id="{F5C64C69-BDE3-4CC6-8274-96D614C23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663" y="-652463"/>
                <a:ext cx="1089025" cy="52388"/>
              </a:xfrm>
              <a:custGeom>
                <a:avLst/>
                <a:gdLst>
                  <a:gd name="T0" fmla="*/ 1428 w 1429"/>
                  <a:gd name="T1" fmla="*/ 65 h 69"/>
                  <a:gd name="T2" fmla="*/ 1429 w 1429"/>
                  <a:gd name="T3" fmla="*/ 36 h 69"/>
                  <a:gd name="T4" fmla="*/ 4 w 1429"/>
                  <a:gd name="T5" fmla="*/ 0 h 69"/>
                  <a:gd name="T6" fmla="*/ 0 w 1429"/>
                  <a:gd name="T7" fmla="*/ 33 h 69"/>
                  <a:gd name="T8" fmla="*/ 1428 w 1429"/>
                  <a:gd name="T9" fmla="*/ 69 h 69"/>
                  <a:gd name="T10" fmla="*/ 1428 w 1429"/>
                  <a:gd name="T11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29" h="69">
                    <a:moveTo>
                      <a:pt x="1428" y="65"/>
                    </a:moveTo>
                    <a:cubicBezTo>
                      <a:pt x="1428" y="55"/>
                      <a:pt x="1428" y="46"/>
                      <a:pt x="1429" y="36"/>
                    </a:cubicBezTo>
                    <a:lnTo>
                      <a:pt x="4" y="0"/>
                    </a:lnTo>
                    <a:cubicBezTo>
                      <a:pt x="3" y="11"/>
                      <a:pt x="2" y="22"/>
                      <a:pt x="0" y="33"/>
                    </a:cubicBezTo>
                    <a:lnTo>
                      <a:pt x="1428" y="69"/>
                    </a:lnTo>
                    <a:cubicBezTo>
                      <a:pt x="1428" y="68"/>
                      <a:pt x="1428" y="66"/>
                      <a:pt x="1428" y="65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79" name="Freeform 38">
                <a:extLst>
                  <a:ext uri="{FF2B5EF4-FFF2-40B4-BE49-F238E27FC236}">
                    <a16:creationId xmlns:a16="http://schemas.microsoft.com/office/drawing/2014/main" id="{26AA6199-808E-4D8F-9545-93CB8D47C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60375" y="-68263"/>
                <a:ext cx="862013" cy="862013"/>
              </a:xfrm>
              <a:custGeom>
                <a:avLst/>
                <a:gdLst>
                  <a:gd name="T0" fmla="*/ 1112 w 1132"/>
                  <a:gd name="T1" fmla="*/ 0 h 1133"/>
                  <a:gd name="T2" fmla="*/ 0 w 1132"/>
                  <a:gd name="T3" fmla="*/ 1109 h 1133"/>
                  <a:gd name="T4" fmla="*/ 24 w 1132"/>
                  <a:gd name="T5" fmla="*/ 1133 h 1133"/>
                  <a:gd name="T6" fmla="*/ 1132 w 1132"/>
                  <a:gd name="T7" fmla="*/ 26 h 1133"/>
                  <a:gd name="T8" fmla="*/ 1112 w 1132"/>
                  <a:gd name="T9" fmla="*/ 0 h 1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2" h="1133">
                    <a:moveTo>
                      <a:pt x="1112" y="0"/>
                    </a:moveTo>
                    <a:lnTo>
                      <a:pt x="0" y="1109"/>
                    </a:lnTo>
                    <a:lnTo>
                      <a:pt x="24" y="1133"/>
                    </a:lnTo>
                    <a:lnTo>
                      <a:pt x="1132" y="26"/>
                    </a:lnTo>
                    <a:cubicBezTo>
                      <a:pt x="1125" y="18"/>
                      <a:pt x="1118" y="9"/>
                      <a:pt x="1112" y="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0" name="Freeform 39">
                <a:extLst>
                  <a:ext uri="{FF2B5EF4-FFF2-40B4-BE49-F238E27FC236}">
                    <a16:creationId xmlns:a16="http://schemas.microsoft.com/office/drawing/2014/main" id="{90604192-2DCB-417B-889A-D6D9FBC6F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7375" y="784225"/>
                <a:ext cx="149225" cy="1690688"/>
              </a:xfrm>
              <a:custGeom>
                <a:avLst/>
                <a:gdLst>
                  <a:gd name="T0" fmla="*/ 33 w 196"/>
                  <a:gd name="T1" fmla="*/ 2219 h 2219"/>
                  <a:gd name="T2" fmla="*/ 196 w 196"/>
                  <a:gd name="T3" fmla="*/ 2 h 2219"/>
                  <a:gd name="T4" fmla="*/ 163 w 196"/>
                  <a:gd name="T5" fmla="*/ 0 h 2219"/>
                  <a:gd name="T6" fmla="*/ 0 w 196"/>
                  <a:gd name="T7" fmla="*/ 2216 h 2219"/>
                  <a:gd name="T8" fmla="*/ 33 w 196"/>
                  <a:gd name="T9" fmla="*/ 2219 h 2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2219">
                    <a:moveTo>
                      <a:pt x="33" y="2219"/>
                    </a:moveTo>
                    <a:lnTo>
                      <a:pt x="196" y="2"/>
                    </a:lnTo>
                    <a:lnTo>
                      <a:pt x="163" y="0"/>
                    </a:lnTo>
                    <a:lnTo>
                      <a:pt x="0" y="2216"/>
                    </a:lnTo>
                    <a:cubicBezTo>
                      <a:pt x="11" y="2216"/>
                      <a:pt x="22" y="2217"/>
                      <a:pt x="33" y="2219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1" name="Freeform 40">
                <a:extLst>
                  <a:ext uri="{FF2B5EF4-FFF2-40B4-BE49-F238E27FC236}">
                    <a16:creationId xmlns:a16="http://schemas.microsoft.com/office/drawing/2014/main" id="{C13DEDA2-2E9E-4C25-BECA-9E6335863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57200" y="774700"/>
                <a:ext cx="1217613" cy="647700"/>
              </a:xfrm>
              <a:custGeom>
                <a:avLst/>
                <a:gdLst>
                  <a:gd name="T0" fmla="*/ 1598 w 1598"/>
                  <a:gd name="T1" fmla="*/ 821 h 851"/>
                  <a:gd name="T2" fmla="*/ 15 w 1598"/>
                  <a:gd name="T3" fmla="*/ 0 h 851"/>
                  <a:gd name="T4" fmla="*/ 0 w 1598"/>
                  <a:gd name="T5" fmla="*/ 30 h 851"/>
                  <a:gd name="T6" fmla="*/ 1582 w 1598"/>
                  <a:gd name="T7" fmla="*/ 851 h 851"/>
                  <a:gd name="T8" fmla="*/ 1598 w 1598"/>
                  <a:gd name="T9" fmla="*/ 821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98" h="851">
                    <a:moveTo>
                      <a:pt x="1598" y="821"/>
                    </a:moveTo>
                    <a:lnTo>
                      <a:pt x="15" y="0"/>
                    </a:lnTo>
                    <a:lnTo>
                      <a:pt x="0" y="30"/>
                    </a:lnTo>
                    <a:lnTo>
                      <a:pt x="1582" y="851"/>
                    </a:lnTo>
                    <a:cubicBezTo>
                      <a:pt x="1586" y="840"/>
                      <a:pt x="1591" y="830"/>
                      <a:pt x="1598" y="821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2" name="Freeform 41">
                <a:extLst>
                  <a:ext uri="{FF2B5EF4-FFF2-40B4-BE49-F238E27FC236}">
                    <a16:creationId xmlns:a16="http://schemas.microsoft.com/office/drawing/2014/main" id="{3DDCE8DD-8348-4355-8BBE-6763C8992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8913" y="-2000250"/>
                <a:ext cx="409575" cy="615950"/>
              </a:xfrm>
              <a:custGeom>
                <a:avLst/>
                <a:gdLst>
                  <a:gd name="T0" fmla="*/ 27 w 537"/>
                  <a:gd name="T1" fmla="*/ 807 h 807"/>
                  <a:gd name="T2" fmla="*/ 537 w 537"/>
                  <a:gd name="T3" fmla="*/ 18 h 807"/>
                  <a:gd name="T4" fmla="*/ 509 w 537"/>
                  <a:gd name="T5" fmla="*/ 0 h 807"/>
                  <a:gd name="T6" fmla="*/ 0 w 537"/>
                  <a:gd name="T7" fmla="*/ 788 h 807"/>
                  <a:gd name="T8" fmla="*/ 27 w 537"/>
                  <a:gd name="T9" fmla="*/ 807 h 8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7" h="807">
                    <a:moveTo>
                      <a:pt x="27" y="807"/>
                    </a:moveTo>
                    <a:lnTo>
                      <a:pt x="537" y="18"/>
                    </a:lnTo>
                    <a:lnTo>
                      <a:pt x="509" y="0"/>
                    </a:lnTo>
                    <a:lnTo>
                      <a:pt x="0" y="788"/>
                    </a:lnTo>
                    <a:cubicBezTo>
                      <a:pt x="9" y="794"/>
                      <a:pt x="18" y="800"/>
                      <a:pt x="27" y="807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3" name="Freeform 42">
                <a:extLst>
                  <a:ext uri="{FF2B5EF4-FFF2-40B4-BE49-F238E27FC236}">
                    <a16:creationId xmlns:a16="http://schemas.microsoft.com/office/drawing/2014/main" id="{6752BC38-35F3-4074-B3FD-88E05C742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5788" y="-2230438"/>
                <a:ext cx="2552700" cy="249238"/>
              </a:xfrm>
              <a:custGeom>
                <a:avLst/>
                <a:gdLst>
                  <a:gd name="T0" fmla="*/ 3350 w 3350"/>
                  <a:gd name="T1" fmla="*/ 31 h 328"/>
                  <a:gd name="T2" fmla="*/ 3350 w 3350"/>
                  <a:gd name="T3" fmla="*/ 0 h 328"/>
                  <a:gd name="T4" fmla="*/ 0 w 3350"/>
                  <a:gd name="T5" fmla="*/ 295 h 328"/>
                  <a:gd name="T6" fmla="*/ 3 w 3350"/>
                  <a:gd name="T7" fmla="*/ 328 h 328"/>
                  <a:gd name="T8" fmla="*/ 3350 w 3350"/>
                  <a:gd name="T9" fmla="*/ 34 h 328"/>
                  <a:gd name="T10" fmla="*/ 3350 w 3350"/>
                  <a:gd name="T11" fmla="*/ 31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50" h="328">
                    <a:moveTo>
                      <a:pt x="3350" y="31"/>
                    </a:moveTo>
                    <a:cubicBezTo>
                      <a:pt x="3349" y="20"/>
                      <a:pt x="3349" y="10"/>
                      <a:pt x="3350" y="0"/>
                    </a:cubicBezTo>
                    <a:lnTo>
                      <a:pt x="0" y="295"/>
                    </a:lnTo>
                    <a:lnTo>
                      <a:pt x="3" y="328"/>
                    </a:lnTo>
                    <a:lnTo>
                      <a:pt x="3350" y="34"/>
                    </a:lnTo>
                    <a:cubicBezTo>
                      <a:pt x="3350" y="33"/>
                      <a:pt x="3350" y="32"/>
                      <a:pt x="3350" y="31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4" name="Freeform 43">
                <a:extLst>
                  <a:ext uri="{FF2B5EF4-FFF2-40B4-BE49-F238E27FC236}">
                    <a16:creationId xmlns:a16="http://schemas.microsoft.com/office/drawing/2014/main" id="{CBD880AC-5464-419A-9EEF-20C55CB229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42276" y="-2144713"/>
                <a:ext cx="122238" cy="1201738"/>
              </a:xfrm>
              <a:custGeom>
                <a:avLst/>
                <a:gdLst>
                  <a:gd name="T0" fmla="*/ 5 w 162"/>
                  <a:gd name="T1" fmla="*/ 2 h 1576"/>
                  <a:gd name="T2" fmla="*/ 0 w 162"/>
                  <a:gd name="T3" fmla="*/ 2 h 1576"/>
                  <a:gd name="T4" fmla="*/ 129 w 162"/>
                  <a:gd name="T5" fmla="*/ 1576 h 1576"/>
                  <a:gd name="T6" fmla="*/ 162 w 162"/>
                  <a:gd name="T7" fmla="*/ 1572 h 1576"/>
                  <a:gd name="T8" fmla="*/ 34 w 162"/>
                  <a:gd name="T9" fmla="*/ 0 h 1576"/>
                  <a:gd name="T10" fmla="*/ 5 w 162"/>
                  <a:gd name="T11" fmla="*/ 2 h 1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2" h="1576">
                    <a:moveTo>
                      <a:pt x="5" y="2"/>
                    </a:moveTo>
                    <a:cubicBezTo>
                      <a:pt x="3" y="2"/>
                      <a:pt x="2" y="2"/>
                      <a:pt x="0" y="2"/>
                    </a:cubicBezTo>
                    <a:lnTo>
                      <a:pt x="129" y="1576"/>
                    </a:lnTo>
                    <a:cubicBezTo>
                      <a:pt x="140" y="1573"/>
                      <a:pt x="151" y="1571"/>
                      <a:pt x="162" y="1572"/>
                    </a:cubicBezTo>
                    <a:lnTo>
                      <a:pt x="34" y="0"/>
                    </a:lnTo>
                    <a:cubicBezTo>
                      <a:pt x="24" y="2"/>
                      <a:pt x="15" y="2"/>
                      <a:pt x="5" y="2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5" name="Freeform 44">
                <a:extLst>
                  <a:ext uri="{FF2B5EF4-FFF2-40B4-BE49-F238E27FC236}">
                    <a16:creationId xmlns:a16="http://schemas.microsoft.com/office/drawing/2014/main" id="{7099285B-1D9C-46C9-8D32-D277FC805A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-2384425"/>
                <a:ext cx="1550988" cy="69850"/>
              </a:xfrm>
              <a:custGeom>
                <a:avLst/>
                <a:gdLst>
                  <a:gd name="T0" fmla="*/ 2035 w 2035"/>
                  <a:gd name="T1" fmla="*/ 0 h 91"/>
                  <a:gd name="T2" fmla="*/ 0 w 2035"/>
                  <a:gd name="T3" fmla="*/ 58 h 91"/>
                  <a:gd name="T4" fmla="*/ 2 w 2035"/>
                  <a:gd name="T5" fmla="*/ 87 h 91"/>
                  <a:gd name="T6" fmla="*/ 2 w 2035"/>
                  <a:gd name="T7" fmla="*/ 91 h 91"/>
                  <a:gd name="T8" fmla="*/ 2033 w 2035"/>
                  <a:gd name="T9" fmla="*/ 33 h 91"/>
                  <a:gd name="T10" fmla="*/ 2035 w 2035"/>
                  <a:gd name="T11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35" h="91">
                    <a:moveTo>
                      <a:pt x="2035" y="0"/>
                    </a:moveTo>
                    <a:lnTo>
                      <a:pt x="0" y="58"/>
                    </a:lnTo>
                    <a:cubicBezTo>
                      <a:pt x="1" y="67"/>
                      <a:pt x="2" y="77"/>
                      <a:pt x="2" y="87"/>
                    </a:cubicBezTo>
                    <a:cubicBezTo>
                      <a:pt x="2" y="88"/>
                      <a:pt x="2" y="90"/>
                      <a:pt x="2" y="91"/>
                    </a:cubicBezTo>
                    <a:lnTo>
                      <a:pt x="2033" y="33"/>
                    </a:lnTo>
                    <a:cubicBezTo>
                      <a:pt x="2033" y="22"/>
                      <a:pt x="2034" y="11"/>
                      <a:pt x="2035" y="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6" name="Freeform 45">
                <a:extLst>
                  <a:ext uri="{FF2B5EF4-FFF2-40B4-BE49-F238E27FC236}">
                    <a16:creationId xmlns:a16="http://schemas.microsoft.com/office/drawing/2014/main" id="{8B197648-1C2F-48E0-A1CF-77067BFFD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8651" y="-2324100"/>
                <a:ext cx="1463675" cy="463550"/>
              </a:xfrm>
              <a:custGeom>
                <a:avLst/>
                <a:gdLst>
                  <a:gd name="T0" fmla="*/ 6 w 1920"/>
                  <a:gd name="T1" fmla="*/ 0 h 608"/>
                  <a:gd name="T2" fmla="*/ 0 w 1920"/>
                  <a:gd name="T3" fmla="*/ 33 h 608"/>
                  <a:gd name="T4" fmla="*/ 1905 w 1920"/>
                  <a:gd name="T5" fmla="*/ 608 h 608"/>
                  <a:gd name="T6" fmla="*/ 1920 w 1920"/>
                  <a:gd name="T7" fmla="*/ 578 h 608"/>
                  <a:gd name="T8" fmla="*/ 6 w 1920"/>
                  <a:gd name="T9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20" h="608">
                    <a:moveTo>
                      <a:pt x="6" y="0"/>
                    </a:moveTo>
                    <a:cubicBezTo>
                      <a:pt x="5" y="12"/>
                      <a:pt x="3" y="23"/>
                      <a:pt x="0" y="33"/>
                    </a:cubicBezTo>
                    <a:lnTo>
                      <a:pt x="1905" y="608"/>
                    </a:lnTo>
                    <a:cubicBezTo>
                      <a:pt x="1910" y="598"/>
                      <a:pt x="1914" y="588"/>
                      <a:pt x="1920" y="578"/>
                    </a:cubicBezTo>
                    <a:lnTo>
                      <a:pt x="6" y="0"/>
                    </a:ln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7" name="Freeform 46">
                <a:extLst>
                  <a:ext uri="{FF2B5EF4-FFF2-40B4-BE49-F238E27FC236}">
                    <a16:creationId xmlns:a16="http://schemas.microsoft.com/office/drawing/2014/main" id="{E38844E0-1F59-4C52-B315-C10CAE40F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62926" y="-3322638"/>
                <a:ext cx="785813" cy="812800"/>
              </a:xfrm>
              <a:custGeom>
                <a:avLst/>
                <a:gdLst>
                  <a:gd name="T0" fmla="*/ 26 w 1033"/>
                  <a:gd name="T1" fmla="*/ 1067 h 1067"/>
                  <a:gd name="T2" fmla="*/ 1033 w 1033"/>
                  <a:gd name="T3" fmla="*/ 23 h 1067"/>
                  <a:gd name="T4" fmla="*/ 1009 w 1033"/>
                  <a:gd name="T5" fmla="*/ 0 h 1067"/>
                  <a:gd name="T6" fmla="*/ 0 w 1033"/>
                  <a:gd name="T7" fmla="*/ 1046 h 1067"/>
                  <a:gd name="T8" fmla="*/ 26 w 1033"/>
                  <a:gd name="T9" fmla="*/ 1067 h 10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3" h="1067">
                    <a:moveTo>
                      <a:pt x="26" y="1067"/>
                    </a:moveTo>
                    <a:lnTo>
                      <a:pt x="1033" y="23"/>
                    </a:lnTo>
                    <a:lnTo>
                      <a:pt x="1009" y="0"/>
                    </a:lnTo>
                    <a:lnTo>
                      <a:pt x="0" y="1046"/>
                    </a:lnTo>
                    <a:cubicBezTo>
                      <a:pt x="9" y="1052"/>
                      <a:pt x="17" y="1059"/>
                      <a:pt x="26" y="1067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8" name="Freeform 47">
                <a:extLst>
                  <a:ext uri="{FF2B5EF4-FFF2-40B4-BE49-F238E27FC236}">
                    <a16:creationId xmlns:a16="http://schemas.microsoft.com/office/drawing/2014/main" id="{229D140A-71FC-4ADC-8338-05E42336E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7438" y="808038"/>
                <a:ext cx="460375" cy="758825"/>
              </a:xfrm>
              <a:custGeom>
                <a:avLst/>
                <a:gdLst>
                  <a:gd name="T0" fmla="*/ 604 w 604"/>
                  <a:gd name="T1" fmla="*/ 978 h 996"/>
                  <a:gd name="T2" fmla="*/ 27 w 604"/>
                  <a:gd name="T3" fmla="*/ 0 h 996"/>
                  <a:gd name="T4" fmla="*/ 0 w 604"/>
                  <a:gd name="T5" fmla="*/ 22 h 996"/>
                  <a:gd name="T6" fmla="*/ 576 w 604"/>
                  <a:gd name="T7" fmla="*/ 996 h 996"/>
                  <a:gd name="T8" fmla="*/ 604 w 604"/>
                  <a:gd name="T9" fmla="*/ 978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4" h="996">
                    <a:moveTo>
                      <a:pt x="604" y="978"/>
                    </a:moveTo>
                    <a:lnTo>
                      <a:pt x="27" y="0"/>
                    </a:lnTo>
                    <a:cubicBezTo>
                      <a:pt x="19" y="9"/>
                      <a:pt x="10" y="16"/>
                      <a:pt x="0" y="22"/>
                    </a:cubicBezTo>
                    <a:lnTo>
                      <a:pt x="576" y="996"/>
                    </a:lnTo>
                    <a:cubicBezTo>
                      <a:pt x="585" y="989"/>
                      <a:pt x="594" y="983"/>
                      <a:pt x="604" y="978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89" name="Freeform 48">
                <a:extLst>
                  <a:ext uri="{FF2B5EF4-FFF2-40B4-BE49-F238E27FC236}">
                    <a16:creationId xmlns:a16="http://schemas.microsoft.com/office/drawing/2014/main" id="{BE3FF054-057E-4668-9BE9-BD04709C5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3451" y="-674688"/>
                <a:ext cx="1319213" cy="412750"/>
              </a:xfrm>
              <a:custGeom>
                <a:avLst/>
                <a:gdLst>
                  <a:gd name="T0" fmla="*/ 1730 w 1730"/>
                  <a:gd name="T1" fmla="*/ 509 h 541"/>
                  <a:gd name="T2" fmla="*/ 9 w 1730"/>
                  <a:gd name="T3" fmla="*/ 0 h 541"/>
                  <a:gd name="T4" fmla="*/ 0 w 1730"/>
                  <a:gd name="T5" fmla="*/ 32 h 541"/>
                  <a:gd name="T6" fmla="*/ 1721 w 1730"/>
                  <a:gd name="T7" fmla="*/ 541 h 541"/>
                  <a:gd name="T8" fmla="*/ 1730 w 1730"/>
                  <a:gd name="T9" fmla="*/ 509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0" h="541">
                    <a:moveTo>
                      <a:pt x="1730" y="509"/>
                    </a:moveTo>
                    <a:lnTo>
                      <a:pt x="9" y="0"/>
                    </a:lnTo>
                    <a:lnTo>
                      <a:pt x="0" y="32"/>
                    </a:lnTo>
                    <a:lnTo>
                      <a:pt x="1721" y="541"/>
                    </a:lnTo>
                    <a:cubicBezTo>
                      <a:pt x="1722" y="530"/>
                      <a:pt x="1725" y="519"/>
                      <a:pt x="1730" y="509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0" name="Freeform 49">
                <a:extLst>
                  <a:ext uri="{FF2B5EF4-FFF2-40B4-BE49-F238E27FC236}">
                    <a16:creationId xmlns:a16="http://schemas.microsoft.com/office/drawing/2014/main" id="{7431C65A-C572-4C76-9EC5-4AB861CC7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4363" y="-1433513"/>
                <a:ext cx="334963" cy="776288"/>
              </a:xfrm>
              <a:custGeom>
                <a:avLst/>
                <a:gdLst>
                  <a:gd name="T0" fmla="*/ 31 w 439"/>
                  <a:gd name="T1" fmla="*/ 0 h 1018"/>
                  <a:gd name="T2" fmla="*/ 0 w 439"/>
                  <a:gd name="T3" fmla="*/ 11 h 1018"/>
                  <a:gd name="T4" fmla="*/ 408 w 439"/>
                  <a:gd name="T5" fmla="*/ 1018 h 1018"/>
                  <a:gd name="T6" fmla="*/ 439 w 439"/>
                  <a:gd name="T7" fmla="*/ 1005 h 1018"/>
                  <a:gd name="T8" fmla="*/ 31 w 439"/>
                  <a:gd name="T9" fmla="*/ 0 h 10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9" h="1018">
                    <a:moveTo>
                      <a:pt x="31" y="0"/>
                    </a:moveTo>
                    <a:cubicBezTo>
                      <a:pt x="21" y="4"/>
                      <a:pt x="10" y="8"/>
                      <a:pt x="0" y="11"/>
                    </a:cubicBezTo>
                    <a:lnTo>
                      <a:pt x="408" y="1018"/>
                    </a:lnTo>
                    <a:lnTo>
                      <a:pt x="439" y="1005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1" name="Freeform 50">
                <a:extLst>
                  <a:ext uri="{FF2B5EF4-FFF2-40B4-BE49-F238E27FC236}">
                    <a16:creationId xmlns:a16="http://schemas.microsoft.com/office/drawing/2014/main" id="{89A536EC-AE90-41ED-A108-271A7FADF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0988" y="119063"/>
                <a:ext cx="525463" cy="103188"/>
              </a:xfrm>
              <a:custGeom>
                <a:avLst/>
                <a:gdLst>
                  <a:gd name="T0" fmla="*/ 684 w 689"/>
                  <a:gd name="T1" fmla="*/ 135 h 135"/>
                  <a:gd name="T2" fmla="*/ 689 w 689"/>
                  <a:gd name="T3" fmla="*/ 102 h 135"/>
                  <a:gd name="T4" fmla="*/ 2 w 689"/>
                  <a:gd name="T5" fmla="*/ 0 h 135"/>
                  <a:gd name="T6" fmla="*/ 0 w 689"/>
                  <a:gd name="T7" fmla="*/ 33 h 135"/>
                  <a:gd name="T8" fmla="*/ 684 w 689"/>
                  <a:gd name="T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9" h="135">
                    <a:moveTo>
                      <a:pt x="684" y="135"/>
                    </a:moveTo>
                    <a:cubicBezTo>
                      <a:pt x="685" y="124"/>
                      <a:pt x="686" y="113"/>
                      <a:pt x="689" y="102"/>
                    </a:cubicBezTo>
                    <a:lnTo>
                      <a:pt x="2" y="0"/>
                    </a:lnTo>
                    <a:cubicBezTo>
                      <a:pt x="3" y="11"/>
                      <a:pt x="3" y="23"/>
                      <a:pt x="0" y="33"/>
                    </a:cubicBezTo>
                    <a:lnTo>
                      <a:pt x="684" y="135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2" name="Freeform 51">
                <a:extLst>
                  <a:ext uri="{FF2B5EF4-FFF2-40B4-BE49-F238E27FC236}">
                    <a16:creationId xmlns:a16="http://schemas.microsoft.com/office/drawing/2014/main" id="{4E109656-36F0-4BD1-9B6F-0C25E6540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53626" y="-823913"/>
                <a:ext cx="295275" cy="868363"/>
              </a:xfrm>
              <a:custGeom>
                <a:avLst/>
                <a:gdLst>
                  <a:gd name="T0" fmla="*/ 32 w 388"/>
                  <a:gd name="T1" fmla="*/ 1139 h 1139"/>
                  <a:gd name="T2" fmla="*/ 388 w 388"/>
                  <a:gd name="T3" fmla="*/ 9 h 1139"/>
                  <a:gd name="T4" fmla="*/ 356 w 388"/>
                  <a:gd name="T5" fmla="*/ 0 h 1139"/>
                  <a:gd name="T6" fmla="*/ 0 w 388"/>
                  <a:gd name="T7" fmla="*/ 1128 h 1139"/>
                  <a:gd name="T8" fmla="*/ 32 w 388"/>
                  <a:gd name="T9" fmla="*/ 1139 h 1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8" h="1139">
                    <a:moveTo>
                      <a:pt x="32" y="1139"/>
                    </a:moveTo>
                    <a:lnTo>
                      <a:pt x="388" y="9"/>
                    </a:lnTo>
                    <a:cubicBezTo>
                      <a:pt x="378" y="6"/>
                      <a:pt x="367" y="3"/>
                      <a:pt x="356" y="0"/>
                    </a:cubicBezTo>
                    <a:lnTo>
                      <a:pt x="0" y="1128"/>
                    </a:lnTo>
                    <a:cubicBezTo>
                      <a:pt x="11" y="1131"/>
                      <a:pt x="22" y="1135"/>
                      <a:pt x="32" y="1139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3" name="Freeform 52">
                <a:extLst>
                  <a:ext uri="{FF2B5EF4-FFF2-40B4-BE49-F238E27FC236}">
                    <a16:creationId xmlns:a16="http://schemas.microsoft.com/office/drawing/2014/main" id="{0F5A2D78-00C6-44CF-886D-C5C14C43A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0938" y="376238"/>
                <a:ext cx="736600" cy="736600"/>
              </a:xfrm>
              <a:custGeom>
                <a:avLst/>
                <a:gdLst>
                  <a:gd name="T0" fmla="*/ 24 w 968"/>
                  <a:gd name="T1" fmla="*/ 0 h 966"/>
                  <a:gd name="T2" fmla="*/ 0 w 968"/>
                  <a:gd name="T3" fmla="*/ 24 h 966"/>
                  <a:gd name="T4" fmla="*/ 944 w 968"/>
                  <a:gd name="T5" fmla="*/ 966 h 966"/>
                  <a:gd name="T6" fmla="*/ 968 w 968"/>
                  <a:gd name="T7" fmla="*/ 943 h 966"/>
                  <a:gd name="T8" fmla="*/ 24 w 968"/>
                  <a:gd name="T9" fmla="*/ 0 h 9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8" h="966">
                    <a:moveTo>
                      <a:pt x="24" y="0"/>
                    </a:moveTo>
                    <a:cubicBezTo>
                      <a:pt x="16" y="9"/>
                      <a:pt x="8" y="16"/>
                      <a:pt x="0" y="24"/>
                    </a:cubicBezTo>
                    <a:lnTo>
                      <a:pt x="944" y="966"/>
                    </a:lnTo>
                    <a:cubicBezTo>
                      <a:pt x="951" y="957"/>
                      <a:pt x="959" y="949"/>
                      <a:pt x="968" y="943"/>
                    </a:cubicBez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4" name="Freeform 53">
                <a:extLst>
                  <a:ext uri="{FF2B5EF4-FFF2-40B4-BE49-F238E27FC236}">
                    <a16:creationId xmlns:a16="http://schemas.microsoft.com/office/drawing/2014/main" id="{705AC3A8-EF95-43EE-B762-8FD0F6599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2313" y="1785938"/>
                <a:ext cx="874713" cy="33338"/>
              </a:xfrm>
              <a:custGeom>
                <a:avLst/>
                <a:gdLst>
                  <a:gd name="T0" fmla="*/ 0 w 1148"/>
                  <a:gd name="T1" fmla="*/ 9 h 43"/>
                  <a:gd name="T2" fmla="*/ 1 w 1148"/>
                  <a:gd name="T3" fmla="*/ 31 h 43"/>
                  <a:gd name="T4" fmla="*/ 1 w 1148"/>
                  <a:gd name="T5" fmla="*/ 43 h 43"/>
                  <a:gd name="T6" fmla="*/ 1148 w 1148"/>
                  <a:gd name="T7" fmla="*/ 33 h 43"/>
                  <a:gd name="T8" fmla="*/ 1146 w 1148"/>
                  <a:gd name="T9" fmla="*/ 0 h 43"/>
                  <a:gd name="T10" fmla="*/ 0 w 1148"/>
                  <a:gd name="T11" fmla="*/ 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48" h="43">
                    <a:moveTo>
                      <a:pt x="0" y="9"/>
                    </a:moveTo>
                    <a:cubicBezTo>
                      <a:pt x="0" y="16"/>
                      <a:pt x="1" y="23"/>
                      <a:pt x="1" y="31"/>
                    </a:cubicBezTo>
                    <a:cubicBezTo>
                      <a:pt x="2" y="35"/>
                      <a:pt x="1" y="39"/>
                      <a:pt x="1" y="43"/>
                    </a:cubicBezTo>
                    <a:lnTo>
                      <a:pt x="1148" y="33"/>
                    </a:lnTo>
                    <a:cubicBezTo>
                      <a:pt x="1145" y="22"/>
                      <a:pt x="1144" y="11"/>
                      <a:pt x="1146" y="0"/>
                    </a:cubicBez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5" name="Freeform 54">
                <a:extLst>
                  <a:ext uri="{FF2B5EF4-FFF2-40B4-BE49-F238E27FC236}">
                    <a16:creationId xmlns:a16="http://schemas.microsoft.com/office/drawing/2014/main" id="{0AA1A32D-7E10-407F-96AA-9BB59CD024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5513" y="1951038"/>
                <a:ext cx="522288" cy="338138"/>
              </a:xfrm>
              <a:custGeom>
                <a:avLst/>
                <a:gdLst>
                  <a:gd name="T0" fmla="*/ 668 w 685"/>
                  <a:gd name="T1" fmla="*/ 0 h 445"/>
                  <a:gd name="T2" fmla="*/ 0 w 685"/>
                  <a:gd name="T3" fmla="*/ 422 h 445"/>
                  <a:gd name="T4" fmla="*/ 25 w 685"/>
                  <a:gd name="T5" fmla="*/ 445 h 445"/>
                  <a:gd name="T6" fmla="*/ 685 w 685"/>
                  <a:gd name="T7" fmla="*/ 29 h 445"/>
                  <a:gd name="T8" fmla="*/ 668 w 685"/>
                  <a:gd name="T9" fmla="*/ 0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5" h="445">
                    <a:moveTo>
                      <a:pt x="668" y="0"/>
                    </a:moveTo>
                    <a:lnTo>
                      <a:pt x="0" y="422"/>
                    </a:lnTo>
                    <a:cubicBezTo>
                      <a:pt x="10" y="428"/>
                      <a:pt x="18" y="436"/>
                      <a:pt x="25" y="445"/>
                    </a:cubicBezTo>
                    <a:lnTo>
                      <a:pt x="685" y="29"/>
                    </a:lnTo>
                    <a:cubicBezTo>
                      <a:pt x="679" y="19"/>
                      <a:pt x="674" y="10"/>
                      <a:pt x="668" y="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6" name="Freeform 55">
                <a:extLst>
                  <a:ext uri="{FF2B5EF4-FFF2-40B4-BE49-F238E27FC236}">
                    <a16:creationId xmlns:a16="http://schemas.microsoft.com/office/drawing/2014/main" id="{7BDE7472-E518-44C4-B589-E8EC8E525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351" y="8023225"/>
                <a:ext cx="565150" cy="450850"/>
              </a:xfrm>
              <a:custGeom>
                <a:avLst/>
                <a:gdLst>
                  <a:gd name="T0" fmla="*/ 721 w 742"/>
                  <a:gd name="T1" fmla="*/ 0 h 591"/>
                  <a:gd name="T2" fmla="*/ 0 w 742"/>
                  <a:gd name="T3" fmla="*/ 565 h 591"/>
                  <a:gd name="T4" fmla="*/ 21 w 742"/>
                  <a:gd name="T5" fmla="*/ 591 h 591"/>
                  <a:gd name="T6" fmla="*/ 742 w 742"/>
                  <a:gd name="T7" fmla="*/ 26 h 591"/>
                  <a:gd name="T8" fmla="*/ 721 w 742"/>
                  <a:gd name="T9" fmla="*/ 0 h 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2" h="591">
                    <a:moveTo>
                      <a:pt x="721" y="0"/>
                    </a:moveTo>
                    <a:lnTo>
                      <a:pt x="0" y="565"/>
                    </a:lnTo>
                    <a:lnTo>
                      <a:pt x="21" y="591"/>
                    </a:lnTo>
                    <a:lnTo>
                      <a:pt x="742" y="26"/>
                    </a:lnTo>
                    <a:cubicBezTo>
                      <a:pt x="735" y="18"/>
                      <a:pt x="728" y="9"/>
                      <a:pt x="721" y="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7" name="Freeform 56">
                <a:extLst>
                  <a:ext uri="{FF2B5EF4-FFF2-40B4-BE49-F238E27FC236}">
                    <a16:creationId xmlns:a16="http://schemas.microsoft.com/office/drawing/2014/main" id="{A9C61813-6DA1-41F1-8364-3DA3DB33F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988" y="8307388"/>
                <a:ext cx="674688" cy="1131888"/>
              </a:xfrm>
              <a:custGeom>
                <a:avLst/>
                <a:gdLst>
                  <a:gd name="T0" fmla="*/ 29 w 885"/>
                  <a:gd name="T1" fmla="*/ 0 h 1485"/>
                  <a:gd name="T2" fmla="*/ 0 w 885"/>
                  <a:gd name="T3" fmla="*/ 16 h 1485"/>
                  <a:gd name="T4" fmla="*/ 856 w 885"/>
                  <a:gd name="T5" fmla="*/ 1485 h 1485"/>
                  <a:gd name="T6" fmla="*/ 885 w 885"/>
                  <a:gd name="T7" fmla="*/ 1468 h 1485"/>
                  <a:gd name="T8" fmla="*/ 29 w 885"/>
                  <a:gd name="T9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5" h="1485">
                    <a:moveTo>
                      <a:pt x="29" y="0"/>
                    </a:moveTo>
                    <a:cubicBezTo>
                      <a:pt x="19" y="6"/>
                      <a:pt x="9" y="11"/>
                      <a:pt x="0" y="16"/>
                    </a:cubicBezTo>
                    <a:lnTo>
                      <a:pt x="856" y="1485"/>
                    </a:lnTo>
                    <a:lnTo>
                      <a:pt x="885" y="1468"/>
                    </a:lnTo>
                    <a:lnTo>
                      <a:pt x="29" y="0"/>
                    </a:ln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8" name="Freeform 57">
                <a:extLst>
                  <a:ext uri="{FF2B5EF4-FFF2-40B4-BE49-F238E27FC236}">
                    <a16:creationId xmlns:a16="http://schemas.microsoft.com/office/drawing/2014/main" id="{4B731624-9723-4A66-9A5E-CEBF7CCA0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2976" y="9420225"/>
                <a:ext cx="1290638" cy="150813"/>
              </a:xfrm>
              <a:custGeom>
                <a:avLst/>
                <a:gdLst>
                  <a:gd name="T0" fmla="*/ 1693 w 1693"/>
                  <a:gd name="T1" fmla="*/ 165 h 198"/>
                  <a:gd name="T2" fmla="*/ 3 w 1693"/>
                  <a:gd name="T3" fmla="*/ 0 h 198"/>
                  <a:gd name="T4" fmla="*/ 0 w 1693"/>
                  <a:gd name="T5" fmla="*/ 33 h 198"/>
                  <a:gd name="T6" fmla="*/ 1686 w 1693"/>
                  <a:gd name="T7" fmla="*/ 198 h 198"/>
                  <a:gd name="T8" fmla="*/ 1693 w 1693"/>
                  <a:gd name="T9" fmla="*/ 165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3" h="198">
                    <a:moveTo>
                      <a:pt x="1693" y="165"/>
                    </a:moveTo>
                    <a:lnTo>
                      <a:pt x="3" y="0"/>
                    </a:lnTo>
                    <a:lnTo>
                      <a:pt x="0" y="33"/>
                    </a:lnTo>
                    <a:lnTo>
                      <a:pt x="1686" y="198"/>
                    </a:lnTo>
                    <a:cubicBezTo>
                      <a:pt x="1688" y="187"/>
                      <a:pt x="1690" y="176"/>
                      <a:pt x="1693" y="165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99" name="Freeform 58">
                <a:extLst>
                  <a:ext uri="{FF2B5EF4-FFF2-40B4-BE49-F238E27FC236}">
                    <a16:creationId xmlns:a16="http://schemas.microsoft.com/office/drawing/2014/main" id="{123DAA9C-B3B6-4C83-BCDC-9426BF062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0038" y="9194800"/>
                <a:ext cx="720725" cy="219075"/>
              </a:xfrm>
              <a:custGeom>
                <a:avLst/>
                <a:gdLst>
                  <a:gd name="T0" fmla="*/ 937 w 947"/>
                  <a:gd name="T1" fmla="*/ 0 h 287"/>
                  <a:gd name="T2" fmla="*/ 0 w 947"/>
                  <a:gd name="T3" fmla="*/ 255 h 287"/>
                  <a:gd name="T4" fmla="*/ 10 w 947"/>
                  <a:gd name="T5" fmla="*/ 287 h 287"/>
                  <a:gd name="T6" fmla="*/ 947 w 947"/>
                  <a:gd name="T7" fmla="*/ 32 h 287"/>
                  <a:gd name="T8" fmla="*/ 937 w 947"/>
                  <a:gd name="T9" fmla="*/ 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7" h="287">
                    <a:moveTo>
                      <a:pt x="937" y="0"/>
                    </a:moveTo>
                    <a:lnTo>
                      <a:pt x="0" y="255"/>
                    </a:lnTo>
                    <a:cubicBezTo>
                      <a:pt x="4" y="266"/>
                      <a:pt x="7" y="276"/>
                      <a:pt x="10" y="287"/>
                    </a:cubicBezTo>
                    <a:lnTo>
                      <a:pt x="947" y="32"/>
                    </a:lnTo>
                    <a:cubicBezTo>
                      <a:pt x="943" y="21"/>
                      <a:pt x="940" y="11"/>
                      <a:pt x="937" y="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0" name="Freeform 59">
                <a:extLst>
                  <a:ext uri="{FF2B5EF4-FFF2-40B4-BE49-F238E27FC236}">
                    <a16:creationId xmlns:a16="http://schemas.microsoft.com/office/drawing/2014/main" id="{CB7F4649-19A4-4927-A40E-B3C43F4DD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13826" y="8369300"/>
                <a:ext cx="174625" cy="481013"/>
              </a:xfrm>
              <a:custGeom>
                <a:avLst/>
                <a:gdLst>
                  <a:gd name="T0" fmla="*/ 31 w 228"/>
                  <a:gd name="T1" fmla="*/ 631 h 631"/>
                  <a:gd name="T2" fmla="*/ 228 w 228"/>
                  <a:gd name="T3" fmla="*/ 13 h 631"/>
                  <a:gd name="T4" fmla="*/ 198 w 228"/>
                  <a:gd name="T5" fmla="*/ 0 h 631"/>
                  <a:gd name="T6" fmla="*/ 0 w 228"/>
                  <a:gd name="T7" fmla="*/ 619 h 631"/>
                  <a:gd name="T8" fmla="*/ 31 w 228"/>
                  <a:gd name="T9" fmla="*/ 631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631">
                    <a:moveTo>
                      <a:pt x="31" y="631"/>
                    </a:moveTo>
                    <a:lnTo>
                      <a:pt x="228" y="13"/>
                    </a:lnTo>
                    <a:cubicBezTo>
                      <a:pt x="218" y="9"/>
                      <a:pt x="208" y="5"/>
                      <a:pt x="198" y="0"/>
                    </a:cubicBezTo>
                    <a:lnTo>
                      <a:pt x="0" y="619"/>
                    </a:lnTo>
                    <a:cubicBezTo>
                      <a:pt x="11" y="623"/>
                      <a:pt x="21" y="627"/>
                      <a:pt x="31" y="631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1" name="Freeform 60">
                <a:extLst>
                  <a:ext uri="{FF2B5EF4-FFF2-40B4-BE49-F238E27FC236}">
                    <a16:creationId xmlns:a16="http://schemas.microsoft.com/office/drawing/2014/main" id="{04A3630D-617B-43CB-8E6A-4EB6F4644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8776" y="6072188"/>
                <a:ext cx="96838" cy="547688"/>
              </a:xfrm>
              <a:custGeom>
                <a:avLst/>
                <a:gdLst>
                  <a:gd name="T0" fmla="*/ 0 w 128"/>
                  <a:gd name="T1" fmla="*/ 4 h 719"/>
                  <a:gd name="T2" fmla="*/ 95 w 128"/>
                  <a:gd name="T3" fmla="*/ 719 h 719"/>
                  <a:gd name="T4" fmla="*/ 128 w 128"/>
                  <a:gd name="T5" fmla="*/ 713 h 719"/>
                  <a:gd name="T6" fmla="*/ 33 w 128"/>
                  <a:gd name="T7" fmla="*/ 0 h 719"/>
                  <a:gd name="T8" fmla="*/ 0 w 128"/>
                  <a:gd name="T9" fmla="*/ 4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719">
                    <a:moveTo>
                      <a:pt x="0" y="4"/>
                    </a:moveTo>
                    <a:lnTo>
                      <a:pt x="95" y="719"/>
                    </a:lnTo>
                    <a:cubicBezTo>
                      <a:pt x="106" y="716"/>
                      <a:pt x="117" y="714"/>
                      <a:pt x="128" y="713"/>
                    </a:cubicBezTo>
                    <a:lnTo>
                      <a:pt x="33" y="0"/>
                    </a:lnTo>
                    <a:cubicBezTo>
                      <a:pt x="22" y="2"/>
                      <a:pt x="11" y="3"/>
                      <a:pt x="0" y="4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2" name="Freeform 61">
                <a:extLst>
                  <a:ext uri="{FF2B5EF4-FFF2-40B4-BE49-F238E27FC236}">
                    <a16:creationId xmlns:a16="http://schemas.microsoft.com/office/drawing/2014/main" id="{2B845B1E-791F-42B0-B6E9-97B7EE711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1463" y="5934075"/>
                <a:ext cx="1158875" cy="544513"/>
              </a:xfrm>
              <a:custGeom>
                <a:avLst/>
                <a:gdLst>
                  <a:gd name="T0" fmla="*/ 1507 w 1521"/>
                  <a:gd name="T1" fmla="*/ 0 h 714"/>
                  <a:gd name="T2" fmla="*/ 0 w 1521"/>
                  <a:gd name="T3" fmla="*/ 684 h 714"/>
                  <a:gd name="T4" fmla="*/ 16 w 1521"/>
                  <a:gd name="T5" fmla="*/ 714 h 714"/>
                  <a:gd name="T6" fmla="*/ 1521 w 1521"/>
                  <a:gd name="T7" fmla="*/ 31 h 714"/>
                  <a:gd name="T8" fmla="*/ 1507 w 1521"/>
                  <a:gd name="T9" fmla="*/ 0 h 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1" h="714">
                    <a:moveTo>
                      <a:pt x="1507" y="0"/>
                    </a:moveTo>
                    <a:lnTo>
                      <a:pt x="0" y="684"/>
                    </a:lnTo>
                    <a:cubicBezTo>
                      <a:pt x="6" y="694"/>
                      <a:pt x="11" y="704"/>
                      <a:pt x="16" y="714"/>
                    </a:cubicBezTo>
                    <a:lnTo>
                      <a:pt x="1521" y="31"/>
                    </a:lnTo>
                    <a:cubicBezTo>
                      <a:pt x="1516" y="21"/>
                      <a:pt x="1511" y="11"/>
                      <a:pt x="1507" y="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3" name="Freeform 62">
                <a:extLst>
                  <a:ext uri="{FF2B5EF4-FFF2-40B4-BE49-F238E27FC236}">
                    <a16:creationId xmlns:a16="http://schemas.microsoft.com/office/drawing/2014/main" id="{412F842F-5905-4E55-881B-FECA5E919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9576" y="4899025"/>
                <a:ext cx="341313" cy="777875"/>
              </a:xfrm>
              <a:custGeom>
                <a:avLst/>
                <a:gdLst>
                  <a:gd name="T0" fmla="*/ 31 w 449"/>
                  <a:gd name="T1" fmla="*/ 1020 h 1020"/>
                  <a:gd name="T2" fmla="*/ 449 w 449"/>
                  <a:gd name="T3" fmla="*/ 10 h 1020"/>
                  <a:gd name="T4" fmla="*/ 417 w 449"/>
                  <a:gd name="T5" fmla="*/ 0 h 1020"/>
                  <a:gd name="T6" fmla="*/ 0 w 449"/>
                  <a:gd name="T7" fmla="*/ 1007 h 1020"/>
                  <a:gd name="T8" fmla="*/ 31 w 449"/>
                  <a:gd name="T9" fmla="*/ 1020 h 1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1020">
                    <a:moveTo>
                      <a:pt x="31" y="1020"/>
                    </a:moveTo>
                    <a:lnTo>
                      <a:pt x="449" y="10"/>
                    </a:lnTo>
                    <a:cubicBezTo>
                      <a:pt x="438" y="7"/>
                      <a:pt x="427" y="4"/>
                      <a:pt x="417" y="0"/>
                    </a:cubicBezTo>
                    <a:lnTo>
                      <a:pt x="0" y="1007"/>
                    </a:lnTo>
                    <a:cubicBezTo>
                      <a:pt x="11" y="1011"/>
                      <a:pt x="21" y="1015"/>
                      <a:pt x="31" y="102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4" name="Freeform 63">
                <a:extLst>
                  <a:ext uri="{FF2B5EF4-FFF2-40B4-BE49-F238E27FC236}">
                    <a16:creationId xmlns:a16="http://schemas.microsoft.com/office/drawing/2014/main" id="{C10E13F8-7EF3-4987-B24D-DE6039BC1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7901" y="7442200"/>
                <a:ext cx="1076325" cy="1031875"/>
              </a:xfrm>
              <a:custGeom>
                <a:avLst/>
                <a:gdLst>
                  <a:gd name="T0" fmla="*/ 21 w 1413"/>
                  <a:gd name="T1" fmla="*/ 0 h 1354"/>
                  <a:gd name="T2" fmla="*/ 0 w 1413"/>
                  <a:gd name="T3" fmla="*/ 26 h 1354"/>
                  <a:gd name="T4" fmla="*/ 1390 w 1413"/>
                  <a:gd name="T5" fmla="*/ 1354 h 1354"/>
                  <a:gd name="T6" fmla="*/ 1413 w 1413"/>
                  <a:gd name="T7" fmla="*/ 1330 h 1354"/>
                  <a:gd name="T8" fmla="*/ 21 w 1413"/>
                  <a:gd name="T9" fmla="*/ 0 h 1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3" h="1354">
                    <a:moveTo>
                      <a:pt x="21" y="0"/>
                    </a:moveTo>
                    <a:cubicBezTo>
                      <a:pt x="15" y="9"/>
                      <a:pt x="7" y="18"/>
                      <a:pt x="0" y="26"/>
                    </a:cubicBezTo>
                    <a:lnTo>
                      <a:pt x="1390" y="1354"/>
                    </a:lnTo>
                    <a:lnTo>
                      <a:pt x="1413" y="133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5" name="Freeform 64">
                <a:extLst>
                  <a:ext uri="{FF2B5EF4-FFF2-40B4-BE49-F238E27FC236}">
                    <a16:creationId xmlns:a16="http://schemas.microsoft.com/office/drawing/2014/main" id="{6A97AA9B-65FD-44FF-92CE-0C0039A08C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663" y="5383213"/>
                <a:ext cx="65088" cy="350838"/>
              </a:xfrm>
              <a:custGeom>
                <a:avLst/>
                <a:gdLst>
                  <a:gd name="T0" fmla="*/ 0 w 87"/>
                  <a:gd name="T1" fmla="*/ 3 h 460"/>
                  <a:gd name="T2" fmla="*/ 54 w 87"/>
                  <a:gd name="T3" fmla="*/ 460 h 460"/>
                  <a:gd name="T4" fmla="*/ 87 w 87"/>
                  <a:gd name="T5" fmla="*/ 455 h 460"/>
                  <a:gd name="T6" fmla="*/ 33 w 87"/>
                  <a:gd name="T7" fmla="*/ 0 h 460"/>
                  <a:gd name="T8" fmla="*/ 0 w 87"/>
                  <a:gd name="T9" fmla="*/ 3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460">
                    <a:moveTo>
                      <a:pt x="0" y="3"/>
                    </a:moveTo>
                    <a:lnTo>
                      <a:pt x="54" y="460"/>
                    </a:lnTo>
                    <a:cubicBezTo>
                      <a:pt x="65" y="458"/>
                      <a:pt x="76" y="456"/>
                      <a:pt x="87" y="455"/>
                    </a:cubicBezTo>
                    <a:lnTo>
                      <a:pt x="33" y="0"/>
                    </a:lnTo>
                    <a:cubicBezTo>
                      <a:pt x="22" y="2"/>
                      <a:pt x="11" y="3"/>
                      <a:pt x="0" y="3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6" name="Freeform 65">
                <a:extLst>
                  <a:ext uri="{FF2B5EF4-FFF2-40B4-BE49-F238E27FC236}">
                    <a16:creationId xmlns:a16="http://schemas.microsoft.com/office/drawing/2014/main" id="{789862E5-E16D-4964-9DE1-DD37468F3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14325" y="4217988"/>
                <a:ext cx="330200" cy="773113"/>
              </a:xfrm>
              <a:custGeom>
                <a:avLst/>
                <a:gdLst>
                  <a:gd name="T0" fmla="*/ 432 w 432"/>
                  <a:gd name="T1" fmla="*/ 1000 h 1014"/>
                  <a:gd name="T2" fmla="*/ 31 w 432"/>
                  <a:gd name="T3" fmla="*/ 0 h 1014"/>
                  <a:gd name="T4" fmla="*/ 0 w 432"/>
                  <a:gd name="T5" fmla="*/ 13 h 1014"/>
                  <a:gd name="T6" fmla="*/ 402 w 432"/>
                  <a:gd name="T7" fmla="*/ 1014 h 1014"/>
                  <a:gd name="T8" fmla="*/ 432 w 432"/>
                  <a:gd name="T9" fmla="*/ 1000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1014">
                    <a:moveTo>
                      <a:pt x="432" y="1000"/>
                    </a:moveTo>
                    <a:lnTo>
                      <a:pt x="31" y="0"/>
                    </a:lnTo>
                    <a:cubicBezTo>
                      <a:pt x="21" y="4"/>
                      <a:pt x="10" y="9"/>
                      <a:pt x="0" y="13"/>
                    </a:cubicBezTo>
                    <a:lnTo>
                      <a:pt x="402" y="1014"/>
                    </a:lnTo>
                    <a:cubicBezTo>
                      <a:pt x="412" y="1009"/>
                      <a:pt x="422" y="1004"/>
                      <a:pt x="432" y="1000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7" name="Freeform 66">
                <a:extLst>
                  <a:ext uri="{FF2B5EF4-FFF2-40B4-BE49-F238E27FC236}">
                    <a16:creationId xmlns:a16="http://schemas.microsoft.com/office/drawing/2014/main" id="{E1515A77-E701-4E87-A246-31D835FAD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76" y="4987925"/>
                <a:ext cx="2008188" cy="185738"/>
              </a:xfrm>
              <a:custGeom>
                <a:avLst/>
                <a:gdLst>
                  <a:gd name="T0" fmla="*/ 4 w 2635"/>
                  <a:gd name="T1" fmla="*/ 245 h 245"/>
                  <a:gd name="T2" fmla="*/ 2635 w 2635"/>
                  <a:gd name="T3" fmla="*/ 33 h 245"/>
                  <a:gd name="T4" fmla="*/ 2631 w 2635"/>
                  <a:gd name="T5" fmla="*/ 0 h 245"/>
                  <a:gd name="T6" fmla="*/ 0 w 2635"/>
                  <a:gd name="T7" fmla="*/ 211 h 245"/>
                  <a:gd name="T8" fmla="*/ 4 w 2635"/>
                  <a:gd name="T9" fmla="*/ 245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35" h="245">
                    <a:moveTo>
                      <a:pt x="4" y="245"/>
                    </a:moveTo>
                    <a:lnTo>
                      <a:pt x="2635" y="33"/>
                    </a:lnTo>
                    <a:cubicBezTo>
                      <a:pt x="2633" y="22"/>
                      <a:pt x="2632" y="11"/>
                      <a:pt x="2631" y="0"/>
                    </a:cubicBezTo>
                    <a:lnTo>
                      <a:pt x="0" y="211"/>
                    </a:lnTo>
                    <a:cubicBezTo>
                      <a:pt x="2" y="222"/>
                      <a:pt x="3" y="233"/>
                      <a:pt x="4" y="245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8" name="Freeform 67">
                <a:extLst>
                  <a:ext uri="{FF2B5EF4-FFF2-40B4-BE49-F238E27FC236}">
                    <a16:creationId xmlns:a16="http://schemas.microsoft.com/office/drawing/2014/main" id="{098DEE1F-379E-4D25-892F-3BA617A45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53763" y="-1050925"/>
                <a:ext cx="1187450" cy="1233488"/>
              </a:xfrm>
              <a:custGeom>
                <a:avLst/>
                <a:gdLst>
                  <a:gd name="T0" fmla="*/ 25 w 1559"/>
                  <a:gd name="T1" fmla="*/ 0 h 1618"/>
                  <a:gd name="T2" fmla="*/ 0 w 1559"/>
                  <a:gd name="T3" fmla="*/ 21 h 1618"/>
                  <a:gd name="T4" fmla="*/ 1535 w 1559"/>
                  <a:gd name="T5" fmla="*/ 1618 h 1618"/>
                  <a:gd name="T6" fmla="*/ 1559 w 1559"/>
                  <a:gd name="T7" fmla="*/ 1595 h 1618"/>
                  <a:gd name="T8" fmla="*/ 25 w 1559"/>
                  <a:gd name="T9" fmla="*/ 0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9" h="1618">
                    <a:moveTo>
                      <a:pt x="25" y="0"/>
                    </a:moveTo>
                    <a:cubicBezTo>
                      <a:pt x="17" y="7"/>
                      <a:pt x="9" y="14"/>
                      <a:pt x="0" y="21"/>
                    </a:cubicBezTo>
                    <a:lnTo>
                      <a:pt x="1535" y="1618"/>
                    </a:lnTo>
                    <a:lnTo>
                      <a:pt x="1559" y="1595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09" name="Freeform 68">
                <a:extLst>
                  <a:ext uri="{FF2B5EF4-FFF2-40B4-BE49-F238E27FC236}">
                    <a16:creationId xmlns:a16="http://schemas.microsoft.com/office/drawing/2014/main" id="{171605A4-DA29-4A89-89B7-817134654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8151" y="168275"/>
                <a:ext cx="376238" cy="754063"/>
              </a:xfrm>
              <a:custGeom>
                <a:avLst/>
                <a:gdLst>
                  <a:gd name="T0" fmla="*/ 27 w 494"/>
                  <a:gd name="T1" fmla="*/ 989 h 989"/>
                  <a:gd name="T2" fmla="*/ 494 w 494"/>
                  <a:gd name="T3" fmla="*/ 15 h 989"/>
                  <a:gd name="T4" fmla="*/ 464 w 494"/>
                  <a:gd name="T5" fmla="*/ 0 h 989"/>
                  <a:gd name="T6" fmla="*/ 0 w 494"/>
                  <a:gd name="T7" fmla="*/ 968 h 989"/>
                  <a:gd name="T8" fmla="*/ 27 w 494"/>
                  <a:gd name="T9" fmla="*/ 989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4" h="989">
                    <a:moveTo>
                      <a:pt x="27" y="989"/>
                    </a:moveTo>
                    <a:lnTo>
                      <a:pt x="494" y="15"/>
                    </a:lnTo>
                    <a:lnTo>
                      <a:pt x="464" y="0"/>
                    </a:lnTo>
                    <a:lnTo>
                      <a:pt x="0" y="968"/>
                    </a:lnTo>
                    <a:cubicBezTo>
                      <a:pt x="11" y="973"/>
                      <a:pt x="20" y="980"/>
                      <a:pt x="27" y="989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0" name="Freeform 69">
                <a:extLst>
                  <a:ext uri="{FF2B5EF4-FFF2-40B4-BE49-F238E27FC236}">
                    <a16:creationId xmlns:a16="http://schemas.microsoft.com/office/drawing/2014/main" id="{1BB7F585-206B-4EE0-ABA6-D5D018C3DD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3563" y="2606675"/>
                <a:ext cx="438150" cy="636588"/>
              </a:xfrm>
              <a:custGeom>
                <a:avLst/>
                <a:gdLst>
                  <a:gd name="T0" fmla="*/ 29 w 575"/>
                  <a:gd name="T1" fmla="*/ 0 h 837"/>
                  <a:gd name="T2" fmla="*/ 0 w 575"/>
                  <a:gd name="T3" fmla="*/ 17 h 837"/>
                  <a:gd name="T4" fmla="*/ 547 w 575"/>
                  <a:gd name="T5" fmla="*/ 837 h 837"/>
                  <a:gd name="T6" fmla="*/ 575 w 575"/>
                  <a:gd name="T7" fmla="*/ 819 h 837"/>
                  <a:gd name="T8" fmla="*/ 29 w 575"/>
                  <a:gd name="T9" fmla="*/ 0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5" h="837">
                    <a:moveTo>
                      <a:pt x="29" y="0"/>
                    </a:moveTo>
                    <a:cubicBezTo>
                      <a:pt x="21" y="7"/>
                      <a:pt x="11" y="13"/>
                      <a:pt x="0" y="17"/>
                    </a:cubicBezTo>
                    <a:lnTo>
                      <a:pt x="547" y="837"/>
                    </a:lnTo>
                    <a:lnTo>
                      <a:pt x="575" y="819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1" name="Freeform 70">
                <a:extLst>
                  <a:ext uri="{FF2B5EF4-FFF2-40B4-BE49-F238E27FC236}">
                    <a16:creationId xmlns:a16="http://schemas.microsoft.com/office/drawing/2014/main" id="{9F9A0E1F-E85A-4C75-89E2-F3C64F6F1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87226" y="3233738"/>
                <a:ext cx="346075" cy="1471613"/>
              </a:xfrm>
              <a:custGeom>
                <a:avLst/>
                <a:gdLst>
                  <a:gd name="T0" fmla="*/ 33 w 454"/>
                  <a:gd name="T1" fmla="*/ 1931 h 1931"/>
                  <a:gd name="T2" fmla="*/ 454 w 454"/>
                  <a:gd name="T3" fmla="*/ 8 h 1931"/>
                  <a:gd name="T4" fmla="*/ 422 w 454"/>
                  <a:gd name="T5" fmla="*/ 0 h 1931"/>
                  <a:gd name="T6" fmla="*/ 0 w 454"/>
                  <a:gd name="T7" fmla="*/ 1926 h 1931"/>
                  <a:gd name="T8" fmla="*/ 33 w 454"/>
                  <a:gd name="T9" fmla="*/ 1931 h 19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4" h="1931">
                    <a:moveTo>
                      <a:pt x="33" y="1931"/>
                    </a:moveTo>
                    <a:lnTo>
                      <a:pt x="454" y="8"/>
                    </a:lnTo>
                    <a:lnTo>
                      <a:pt x="422" y="0"/>
                    </a:lnTo>
                    <a:lnTo>
                      <a:pt x="0" y="1926"/>
                    </a:lnTo>
                    <a:cubicBezTo>
                      <a:pt x="11" y="1927"/>
                      <a:pt x="22" y="1929"/>
                      <a:pt x="33" y="1931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2" name="Freeform 71">
                <a:extLst>
                  <a:ext uri="{FF2B5EF4-FFF2-40B4-BE49-F238E27FC236}">
                    <a16:creationId xmlns:a16="http://schemas.microsoft.com/office/drawing/2014/main" id="{1D109485-2D30-41E9-8E96-CEAB10503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1" y="-4310063"/>
                <a:ext cx="547688" cy="1139825"/>
              </a:xfrm>
              <a:custGeom>
                <a:avLst/>
                <a:gdLst>
                  <a:gd name="T0" fmla="*/ 27 w 719"/>
                  <a:gd name="T1" fmla="*/ 1496 h 1496"/>
                  <a:gd name="T2" fmla="*/ 719 w 719"/>
                  <a:gd name="T3" fmla="*/ 15 h 1496"/>
                  <a:gd name="T4" fmla="*/ 689 w 719"/>
                  <a:gd name="T5" fmla="*/ 0 h 1496"/>
                  <a:gd name="T6" fmla="*/ 0 w 719"/>
                  <a:gd name="T7" fmla="*/ 1475 h 1496"/>
                  <a:gd name="T8" fmla="*/ 27 w 719"/>
                  <a:gd name="T9" fmla="*/ 1496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9" h="1496">
                    <a:moveTo>
                      <a:pt x="27" y="1496"/>
                    </a:moveTo>
                    <a:lnTo>
                      <a:pt x="719" y="15"/>
                    </a:lnTo>
                    <a:lnTo>
                      <a:pt x="689" y="0"/>
                    </a:lnTo>
                    <a:lnTo>
                      <a:pt x="0" y="1475"/>
                    </a:lnTo>
                    <a:cubicBezTo>
                      <a:pt x="9" y="1482"/>
                      <a:pt x="18" y="1489"/>
                      <a:pt x="27" y="1496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3" name="Freeform 72">
                <a:extLst>
                  <a:ext uri="{FF2B5EF4-FFF2-40B4-BE49-F238E27FC236}">
                    <a16:creationId xmlns:a16="http://schemas.microsoft.com/office/drawing/2014/main" id="{62AB604E-D59C-4364-A7CF-2739F01B8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0151" y="-4313238"/>
                <a:ext cx="1643063" cy="1808163"/>
              </a:xfrm>
              <a:custGeom>
                <a:avLst/>
                <a:gdLst>
                  <a:gd name="T0" fmla="*/ 2155 w 2155"/>
                  <a:gd name="T1" fmla="*/ 2353 h 2374"/>
                  <a:gd name="T2" fmla="*/ 25 w 2155"/>
                  <a:gd name="T3" fmla="*/ 0 h 2374"/>
                  <a:gd name="T4" fmla="*/ 0 w 2155"/>
                  <a:gd name="T5" fmla="*/ 23 h 2374"/>
                  <a:gd name="T6" fmla="*/ 2129 w 2155"/>
                  <a:gd name="T7" fmla="*/ 2374 h 2374"/>
                  <a:gd name="T8" fmla="*/ 2155 w 2155"/>
                  <a:gd name="T9" fmla="*/ 2353 h 2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55" h="2374">
                    <a:moveTo>
                      <a:pt x="2155" y="2353"/>
                    </a:moveTo>
                    <a:lnTo>
                      <a:pt x="25" y="0"/>
                    </a:lnTo>
                    <a:lnTo>
                      <a:pt x="0" y="23"/>
                    </a:lnTo>
                    <a:lnTo>
                      <a:pt x="2129" y="2374"/>
                    </a:lnTo>
                    <a:cubicBezTo>
                      <a:pt x="2137" y="2366"/>
                      <a:pt x="2146" y="2359"/>
                      <a:pt x="2155" y="2353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4" name="Freeform 73">
                <a:extLst>
                  <a:ext uri="{FF2B5EF4-FFF2-40B4-BE49-F238E27FC236}">
                    <a16:creationId xmlns:a16="http://schemas.microsoft.com/office/drawing/2014/main" id="{83CA5FA3-5EDC-4DBB-9927-F53C2120D0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6026" y="-3952875"/>
                <a:ext cx="430213" cy="1404938"/>
              </a:xfrm>
              <a:custGeom>
                <a:avLst/>
                <a:gdLst>
                  <a:gd name="T0" fmla="*/ 566 w 566"/>
                  <a:gd name="T1" fmla="*/ 1833 h 1843"/>
                  <a:gd name="T2" fmla="*/ 32 w 566"/>
                  <a:gd name="T3" fmla="*/ 0 h 1843"/>
                  <a:gd name="T4" fmla="*/ 0 w 566"/>
                  <a:gd name="T5" fmla="*/ 10 h 1843"/>
                  <a:gd name="T6" fmla="*/ 534 w 566"/>
                  <a:gd name="T7" fmla="*/ 1843 h 1843"/>
                  <a:gd name="T8" fmla="*/ 566 w 566"/>
                  <a:gd name="T9" fmla="*/ 1833 h 1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6" h="1843">
                    <a:moveTo>
                      <a:pt x="566" y="1833"/>
                    </a:moveTo>
                    <a:lnTo>
                      <a:pt x="32" y="0"/>
                    </a:lnTo>
                    <a:lnTo>
                      <a:pt x="0" y="10"/>
                    </a:lnTo>
                    <a:lnTo>
                      <a:pt x="534" y="1843"/>
                    </a:lnTo>
                    <a:cubicBezTo>
                      <a:pt x="545" y="1839"/>
                      <a:pt x="555" y="1836"/>
                      <a:pt x="566" y="1833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5" name="Freeform 74">
                <a:extLst>
                  <a:ext uri="{FF2B5EF4-FFF2-40B4-BE49-F238E27FC236}">
                    <a16:creationId xmlns:a16="http://schemas.microsoft.com/office/drawing/2014/main" id="{E565358F-6777-4C48-A731-1A90C2F08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9213" y="-3514725"/>
                <a:ext cx="1306513" cy="212725"/>
              </a:xfrm>
              <a:custGeom>
                <a:avLst/>
                <a:gdLst>
                  <a:gd name="T0" fmla="*/ 2 w 823"/>
                  <a:gd name="T1" fmla="*/ 134 h 134"/>
                  <a:gd name="T2" fmla="*/ 0 w 823"/>
                  <a:gd name="T3" fmla="*/ 119 h 134"/>
                  <a:gd name="T4" fmla="*/ 820 w 823"/>
                  <a:gd name="T5" fmla="*/ 0 h 134"/>
                  <a:gd name="T6" fmla="*/ 823 w 823"/>
                  <a:gd name="T7" fmla="*/ 16 h 134"/>
                  <a:gd name="T8" fmla="*/ 2 w 823"/>
                  <a:gd name="T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3" h="134">
                    <a:moveTo>
                      <a:pt x="2" y="134"/>
                    </a:moveTo>
                    <a:lnTo>
                      <a:pt x="0" y="119"/>
                    </a:lnTo>
                    <a:lnTo>
                      <a:pt x="820" y="0"/>
                    </a:lnTo>
                    <a:lnTo>
                      <a:pt x="823" y="16"/>
                    </a:lnTo>
                    <a:lnTo>
                      <a:pt x="2" y="134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6" name="Freeform 75">
                <a:extLst>
                  <a:ext uri="{FF2B5EF4-FFF2-40B4-BE49-F238E27FC236}">
                    <a16:creationId xmlns:a16="http://schemas.microsoft.com/office/drawing/2014/main" id="{EB6B9324-5D3C-47B9-953D-6CD8AC961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31663" y="-823913"/>
                <a:ext cx="214313" cy="1000125"/>
              </a:xfrm>
              <a:custGeom>
                <a:avLst/>
                <a:gdLst>
                  <a:gd name="T0" fmla="*/ 119 w 135"/>
                  <a:gd name="T1" fmla="*/ 630 h 630"/>
                  <a:gd name="T2" fmla="*/ 0 w 135"/>
                  <a:gd name="T3" fmla="*/ 3 h 630"/>
                  <a:gd name="T4" fmla="*/ 16 w 135"/>
                  <a:gd name="T5" fmla="*/ 0 h 630"/>
                  <a:gd name="T6" fmla="*/ 135 w 135"/>
                  <a:gd name="T7" fmla="*/ 627 h 630"/>
                  <a:gd name="T8" fmla="*/ 119 w 135"/>
                  <a:gd name="T9" fmla="*/ 63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5" h="630">
                    <a:moveTo>
                      <a:pt x="119" y="630"/>
                    </a:moveTo>
                    <a:lnTo>
                      <a:pt x="0" y="3"/>
                    </a:lnTo>
                    <a:lnTo>
                      <a:pt x="16" y="0"/>
                    </a:lnTo>
                    <a:lnTo>
                      <a:pt x="135" y="627"/>
                    </a:lnTo>
                    <a:lnTo>
                      <a:pt x="119" y="63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7" name="Freeform 76">
                <a:extLst>
                  <a:ext uri="{FF2B5EF4-FFF2-40B4-BE49-F238E27FC236}">
                    <a16:creationId xmlns:a16="http://schemas.microsoft.com/office/drawing/2014/main" id="{AA8E2882-2770-4361-8C29-3FF26B986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28513" y="-198438"/>
                <a:ext cx="947738" cy="384175"/>
              </a:xfrm>
              <a:custGeom>
                <a:avLst/>
                <a:gdLst>
                  <a:gd name="T0" fmla="*/ 6 w 597"/>
                  <a:gd name="T1" fmla="*/ 242 h 242"/>
                  <a:gd name="T2" fmla="*/ 0 w 597"/>
                  <a:gd name="T3" fmla="*/ 227 h 242"/>
                  <a:gd name="T4" fmla="*/ 592 w 597"/>
                  <a:gd name="T5" fmla="*/ 0 h 242"/>
                  <a:gd name="T6" fmla="*/ 597 w 597"/>
                  <a:gd name="T7" fmla="*/ 14 h 242"/>
                  <a:gd name="T8" fmla="*/ 6 w 597"/>
                  <a:gd name="T9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7" h="242">
                    <a:moveTo>
                      <a:pt x="6" y="242"/>
                    </a:moveTo>
                    <a:lnTo>
                      <a:pt x="0" y="227"/>
                    </a:lnTo>
                    <a:lnTo>
                      <a:pt x="592" y="0"/>
                    </a:lnTo>
                    <a:lnTo>
                      <a:pt x="597" y="14"/>
                    </a:lnTo>
                    <a:lnTo>
                      <a:pt x="6" y="242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8" name="Freeform 77">
                <a:extLst>
                  <a:ext uri="{FF2B5EF4-FFF2-40B4-BE49-F238E27FC236}">
                    <a16:creationId xmlns:a16="http://schemas.microsoft.com/office/drawing/2014/main" id="{2B3E141A-7CE1-49D1-B13C-F89164F13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22163" y="166688"/>
                <a:ext cx="828675" cy="1138238"/>
              </a:xfrm>
              <a:custGeom>
                <a:avLst/>
                <a:gdLst>
                  <a:gd name="T0" fmla="*/ 509 w 522"/>
                  <a:gd name="T1" fmla="*/ 717 h 717"/>
                  <a:gd name="T2" fmla="*/ 0 w 522"/>
                  <a:gd name="T3" fmla="*/ 9 h 717"/>
                  <a:gd name="T4" fmla="*/ 13 w 522"/>
                  <a:gd name="T5" fmla="*/ 0 h 717"/>
                  <a:gd name="T6" fmla="*/ 522 w 522"/>
                  <a:gd name="T7" fmla="*/ 708 h 717"/>
                  <a:gd name="T8" fmla="*/ 509 w 522"/>
                  <a:gd name="T9" fmla="*/ 717 h 7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2" h="717">
                    <a:moveTo>
                      <a:pt x="509" y="717"/>
                    </a:moveTo>
                    <a:lnTo>
                      <a:pt x="0" y="9"/>
                    </a:lnTo>
                    <a:lnTo>
                      <a:pt x="13" y="0"/>
                    </a:lnTo>
                    <a:lnTo>
                      <a:pt x="522" y="708"/>
                    </a:lnTo>
                    <a:lnTo>
                      <a:pt x="509" y="717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19" name="Freeform 78">
                <a:extLst>
                  <a:ext uri="{FF2B5EF4-FFF2-40B4-BE49-F238E27FC236}">
                    <a16:creationId xmlns:a16="http://schemas.microsoft.com/office/drawing/2014/main" id="{876BA4ED-92A0-4DFC-BCD5-92C2EC42F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82501" y="1285875"/>
                <a:ext cx="661988" cy="228600"/>
              </a:xfrm>
              <a:custGeom>
                <a:avLst/>
                <a:gdLst>
                  <a:gd name="T0" fmla="*/ 6 w 870"/>
                  <a:gd name="T1" fmla="*/ 301 h 301"/>
                  <a:gd name="T2" fmla="*/ 870 w 870"/>
                  <a:gd name="T3" fmla="*/ 31 h 301"/>
                  <a:gd name="T4" fmla="*/ 860 w 870"/>
                  <a:gd name="T5" fmla="*/ 0 h 301"/>
                  <a:gd name="T6" fmla="*/ 0 w 870"/>
                  <a:gd name="T7" fmla="*/ 268 h 301"/>
                  <a:gd name="T8" fmla="*/ 6 w 870"/>
                  <a:gd name="T9" fmla="*/ 301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0" h="301">
                    <a:moveTo>
                      <a:pt x="6" y="301"/>
                    </a:moveTo>
                    <a:lnTo>
                      <a:pt x="870" y="31"/>
                    </a:lnTo>
                    <a:lnTo>
                      <a:pt x="860" y="0"/>
                    </a:lnTo>
                    <a:lnTo>
                      <a:pt x="0" y="268"/>
                    </a:lnTo>
                    <a:cubicBezTo>
                      <a:pt x="4" y="278"/>
                      <a:pt x="6" y="290"/>
                      <a:pt x="6" y="301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0" name="Freeform 79">
                <a:extLst>
                  <a:ext uri="{FF2B5EF4-FFF2-40B4-BE49-F238E27FC236}">
                    <a16:creationId xmlns:a16="http://schemas.microsoft.com/office/drawing/2014/main" id="{2AE2E47D-39EA-4165-A8E2-DEE31F52E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12663" y="2224088"/>
                <a:ext cx="1163638" cy="1022350"/>
              </a:xfrm>
              <a:custGeom>
                <a:avLst/>
                <a:gdLst>
                  <a:gd name="T0" fmla="*/ 11 w 733"/>
                  <a:gd name="T1" fmla="*/ 644 h 644"/>
                  <a:gd name="T2" fmla="*/ 0 w 733"/>
                  <a:gd name="T3" fmla="*/ 632 h 644"/>
                  <a:gd name="T4" fmla="*/ 722 w 733"/>
                  <a:gd name="T5" fmla="*/ 0 h 644"/>
                  <a:gd name="T6" fmla="*/ 733 w 733"/>
                  <a:gd name="T7" fmla="*/ 12 h 644"/>
                  <a:gd name="T8" fmla="*/ 11 w 733"/>
                  <a:gd name="T9" fmla="*/ 644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3" h="644">
                    <a:moveTo>
                      <a:pt x="11" y="644"/>
                    </a:moveTo>
                    <a:lnTo>
                      <a:pt x="0" y="632"/>
                    </a:lnTo>
                    <a:lnTo>
                      <a:pt x="722" y="0"/>
                    </a:lnTo>
                    <a:lnTo>
                      <a:pt x="733" y="12"/>
                    </a:lnTo>
                    <a:lnTo>
                      <a:pt x="11" y="644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1" name="Freeform 80">
                <a:extLst>
                  <a:ext uri="{FF2B5EF4-FFF2-40B4-BE49-F238E27FC236}">
                    <a16:creationId xmlns:a16="http://schemas.microsoft.com/office/drawing/2014/main" id="{ED90BD53-6B9E-4093-A7BA-1F0D63044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15838" y="3225800"/>
                <a:ext cx="1709738" cy="833438"/>
              </a:xfrm>
              <a:custGeom>
                <a:avLst/>
                <a:gdLst>
                  <a:gd name="T0" fmla="*/ 1070 w 1077"/>
                  <a:gd name="T1" fmla="*/ 525 h 525"/>
                  <a:gd name="T2" fmla="*/ 0 w 1077"/>
                  <a:gd name="T3" fmla="*/ 14 h 525"/>
                  <a:gd name="T4" fmla="*/ 7 w 1077"/>
                  <a:gd name="T5" fmla="*/ 0 h 525"/>
                  <a:gd name="T6" fmla="*/ 1077 w 1077"/>
                  <a:gd name="T7" fmla="*/ 511 h 525"/>
                  <a:gd name="T8" fmla="*/ 1070 w 1077"/>
                  <a:gd name="T9" fmla="*/ 525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7" h="525">
                    <a:moveTo>
                      <a:pt x="1070" y="525"/>
                    </a:moveTo>
                    <a:lnTo>
                      <a:pt x="0" y="14"/>
                    </a:lnTo>
                    <a:lnTo>
                      <a:pt x="7" y="0"/>
                    </a:lnTo>
                    <a:lnTo>
                      <a:pt x="1077" y="511"/>
                    </a:lnTo>
                    <a:lnTo>
                      <a:pt x="1070" y="525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2" name="Freeform 81">
                <a:extLst>
                  <a:ext uri="{FF2B5EF4-FFF2-40B4-BE49-F238E27FC236}">
                    <a16:creationId xmlns:a16="http://schemas.microsoft.com/office/drawing/2014/main" id="{62C3578E-67C4-43D1-AEA4-3F459509E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80976" y="5864225"/>
                <a:ext cx="1041400" cy="185738"/>
              </a:xfrm>
              <a:custGeom>
                <a:avLst/>
                <a:gdLst>
                  <a:gd name="T0" fmla="*/ 4 w 1367"/>
                  <a:gd name="T1" fmla="*/ 0 h 243"/>
                  <a:gd name="T2" fmla="*/ 0 w 1367"/>
                  <a:gd name="T3" fmla="*/ 34 h 243"/>
                  <a:gd name="T4" fmla="*/ 1362 w 1367"/>
                  <a:gd name="T5" fmla="*/ 243 h 243"/>
                  <a:gd name="T6" fmla="*/ 1367 w 1367"/>
                  <a:gd name="T7" fmla="*/ 210 h 243"/>
                  <a:gd name="T8" fmla="*/ 4 w 1367"/>
                  <a:gd name="T9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7" h="243">
                    <a:moveTo>
                      <a:pt x="4" y="0"/>
                    </a:moveTo>
                    <a:cubicBezTo>
                      <a:pt x="4" y="12"/>
                      <a:pt x="2" y="23"/>
                      <a:pt x="0" y="34"/>
                    </a:cubicBezTo>
                    <a:lnTo>
                      <a:pt x="1362" y="243"/>
                    </a:lnTo>
                    <a:lnTo>
                      <a:pt x="1367" y="21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3" name="Freeform 82">
                <a:extLst>
                  <a:ext uri="{FF2B5EF4-FFF2-40B4-BE49-F238E27FC236}">
                    <a16:creationId xmlns:a16="http://schemas.microsoft.com/office/drawing/2014/main" id="{73DD88AB-6235-4FB3-9200-18AFFBB3E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9926" y="6699250"/>
                <a:ext cx="201613" cy="739775"/>
              </a:xfrm>
              <a:custGeom>
                <a:avLst/>
                <a:gdLst>
                  <a:gd name="T0" fmla="*/ 0 w 265"/>
                  <a:gd name="T1" fmla="*/ 4 h 971"/>
                  <a:gd name="T2" fmla="*/ 233 w 265"/>
                  <a:gd name="T3" fmla="*/ 971 h 971"/>
                  <a:gd name="T4" fmla="*/ 265 w 265"/>
                  <a:gd name="T5" fmla="*/ 963 h 971"/>
                  <a:gd name="T6" fmla="*/ 33 w 265"/>
                  <a:gd name="T7" fmla="*/ 0 h 971"/>
                  <a:gd name="T8" fmla="*/ 0 w 265"/>
                  <a:gd name="T9" fmla="*/ 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5" h="971">
                    <a:moveTo>
                      <a:pt x="0" y="4"/>
                    </a:moveTo>
                    <a:lnTo>
                      <a:pt x="233" y="971"/>
                    </a:lnTo>
                    <a:lnTo>
                      <a:pt x="265" y="963"/>
                    </a:lnTo>
                    <a:lnTo>
                      <a:pt x="33" y="0"/>
                    </a:lnTo>
                    <a:cubicBezTo>
                      <a:pt x="22" y="2"/>
                      <a:pt x="11" y="3"/>
                      <a:pt x="0" y="4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4" name="Freeform 83">
                <a:extLst>
                  <a:ext uri="{FF2B5EF4-FFF2-40B4-BE49-F238E27FC236}">
                    <a16:creationId xmlns:a16="http://schemas.microsoft.com/office/drawing/2014/main" id="{D9EED11B-B43C-4E7D-8D4D-8BD096610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29838" y="8040688"/>
                <a:ext cx="1646238" cy="1308100"/>
              </a:xfrm>
              <a:custGeom>
                <a:avLst/>
                <a:gdLst>
                  <a:gd name="T0" fmla="*/ 23 w 2161"/>
                  <a:gd name="T1" fmla="*/ 0 h 1718"/>
                  <a:gd name="T2" fmla="*/ 0 w 2161"/>
                  <a:gd name="T3" fmla="*/ 24 h 1718"/>
                  <a:gd name="T4" fmla="*/ 2140 w 2161"/>
                  <a:gd name="T5" fmla="*/ 1718 h 1718"/>
                  <a:gd name="T6" fmla="*/ 2161 w 2161"/>
                  <a:gd name="T7" fmla="*/ 1692 h 1718"/>
                  <a:gd name="T8" fmla="*/ 23 w 2161"/>
                  <a:gd name="T9" fmla="*/ 0 h 1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61" h="1718">
                    <a:moveTo>
                      <a:pt x="23" y="0"/>
                    </a:moveTo>
                    <a:cubicBezTo>
                      <a:pt x="16" y="8"/>
                      <a:pt x="8" y="16"/>
                      <a:pt x="0" y="24"/>
                    </a:cubicBezTo>
                    <a:lnTo>
                      <a:pt x="2140" y="1718"/>
                    </a:lnTo>
                    <a:lnTo>
                      <a:pt x="2161" y="1692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5" name="Freeform 84">
                <a:extLst>
                  <a:ext uri="{FF2B5EF4-FFF2-40B4-BE49-F238E27FC236}">
                    <a16:creationId xmlns:a16="http://schemas.microsoft.com/office/drawing/2014/main" id="{D1ACA185-ED06-49A0-B520-BDE639B89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32888" y="9317038"/>
                <a:ext cx="1304925" cy="1287463"/>
              </a:xfrm>
              <a:custGeom>
                <a:avLst/>
                <a:gdLst>
                  <a:gd name="T0" fmla="*/ 23 w 1714"/>
                  <a:gd name="T1" fmla="*/ 0 h 1691"/>
                  <a:gd name="T2" fmla="*/ 0 w 1714"/>
                  <a:gd name="T3" fmla="*/ 25 h 1691"/>
                  <a:gd name="T4" fmla="*/ 1691 w 1714"/>
                  <a:gd name="T5" fmla="*/ 1691 h 1691"/>
                  <a:gd name="T6" fmla="*/ 1714 w 1714"/>
                  <a:gd name="T7" fmla="*/ 1668 h 1691"/>
                  <a:gd name="T8" fmla="*/ 23 w 1714"/>
                  <a:gd name="T9" fmla="*/ 0 h 1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4" h="1691">
                    <a:moveTo>
                      <a:pt x="23" y="0"/>
                    </a:moveTo>
                    <a:cubicBezTo>
                      <a:pt x="16" y="9"/>
                      <a:pt x="8" y="17"/>
                      <a:pt x="0" y="25"/>
                    </a:cubicBezTo>
                    <a:lnTo>
                      <a:pt x="1691" y="1691"/>
                    </a:lnTo>
                    <a:lnTo>
                      <a:pt x="1714" y="1668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6" name="Freeform 85">
                <a:extLst>
                  <a:ext uri="{FF2B5EF4-FFF2-40B4-BE49-F238E27FC236}">
                    <a16:creationId xmlns:a16="http://schemas.microsoft.com/office/drawing/2014/main" id="{445A2FCD-7FFB-4FF4-99D4-2D8C1D001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3163" y="9423400"/>
                <a:ext cx="130175" cy="1173163"/>
              </a:xfrm>
              <a:custGeom>
                <a:avLst/>
                <a:gdLst>
                  <a:gd name="T0" fmla="*/ 169 w 171"/>
                  <a:gd name="T1" fmla="*/ 1 h 1541"/>
                  <a:gd name="T2" fmla="*/ 138 w 171"/>
                  <a:gd name="T3" fmla="*/ 0 h 1541"/>
                  <a:gd name="T4" fmla="*/ 0 w 171"/>
                  <a:gd name="T5" fmla="*/ 1538 h 1541"/>
                  <a:gd name="T6" fmla="*/ 33 w 171"/>
                  <a:gd name="T7" fmla="*/ 1541 h 1541"/>
                  <a:gd name="T8" fmla="*/ 171 w 171"/>
                  <a:gd name="T9" fmla="*/ 1 h 1541"/>
                  <a:gd name="T10" fmla="*/ 169 w 171"/>
                  <a:gd name="T11" fmla="*/ 1 h 1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1" h="1541">
                    <a:moveTo>
                      <a:pt x="169" y="1"/>
                    </a:moveTo>
                    <a:cubicBezTo>
                      <a:pt x="158" y="1"/>
                      <a:pt x="148" y="1"/>
                      <a:pt x="138" y="0"/>
                    </a:cubicBezTo>
                    <a:lnTo>
                      <a:pt x="0" y="1538"/>
                    </a:lnTo>
                    <a:lnTo>
                      <a:pt x="33" y="1541"/>
                    </a:lnTo>
                    <a:lnTo>
                      <a:pt x="171" y="1"/>
                    </a:lnTo>
                    <a:lnTo>
                      <a:pt x="169" y="1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7" name="Freeform 86">
                <a:extLst>
                  <a:ext uri="{FF2B5EF4-FFF2-40B4-BE49-F238E27FC236}">
                    <a16:creationId xmlns:a16="http://schemas.microsoft.com/office/drawing/2014/main" id="{660F9DDF-6702-475E-A772-1D41E0610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1863" y="9428163"/>
                <a:ext cx="715963" cy="1822450"/>
              </a:xfrm>
              <a:custGeom>
                <a:avLst/>
                <a:gdLst>
                  <a:gd name="T0" fmla="*/ 436 w 451"/>
                  <a:gd name="T1" fmla="*/ 1148 h 1148"/>
                  <a:gd name="T2" fmla="*/ 0 w 451"/>
                  <a:gd name="T3" fmla="*/ 5 h 1148"/>
                  <a:gd name="T4" fmla="*/ 15 w 451"/>
                  <a:gd name="T5" fmla="*/ 0 h 1148"/>
                  <a:gd name="T6" fmla="*/ 451 w 451"/>
                  <a:gd name="T7" fmla="*/ 1143 h 1148"/>
                  <a:gd name="T8" fmla="*/ 436 w 451"/>
                  <a:gd name="T9" fmla="*/ 1148 h 1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1" h="1148">
                    <a:moveTo>
                      <a:pt x="436" y="1148"/>
                    </a:moveTo>
                    <a:lnTo>
                      <a:pt x="0" y="5"/>
                    </a:lnTo>
                    <a:lnTo>
                      <a:pt x="15" y="0"/>
                    </a:lnTo>
                    <a:lnTo>
                      <a:pt x="451" y="1143"/>
                    </a:lnTo>
                    <a:lnTo>
                      <a:pt x="436" y="1148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8" name="Freeform 87">
                <a:extLst>
                  <a:ext uri="{FF2B5EF4-FFF2-40B4-BE49-F238E27FC236}">
                    <a16:creationId xmlns:a16="http://schemas.microsoft.com/office/drawing/2014/main" id="{09B84842-FC6D-46E7-B716-D8212649A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8376" y="9423400"/>
                <a:ext cx="1254125" cy="1182688"/>
              </a:xfrm>
              <a:custGeom>
                <a:avLst/>
                <a:gdLst>
                  <a:gd name="T0" fmla="*/ 11 w 790"/>
                  <a:gd name="T1" fmla="*/ 745 h 745"/>
                  <a:gd name="T2" fmla="*/ 0 w 790"/>
                  <a:gd name="T3" fmla="*/ 733 h 745"/>
                  <a:gd name="T4" fmla="*/ 779 w 790"/>
                  <a:gd name="T5" fmla="*/ 0 h 745"/>
                  <a:gd name="T6" fmla="*/ 790 w 790"/>
                  <a:gd name="T7" fmla="*/ 12 h 745"/>
                  <a:gd name="T8" fmla="*/ 11 w 790"/>
                  <a:gd name="T9" fmla="*/ 745 h 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0" h="745">
                    <a:moveTo>
                      <a:pt x="11" y="745"/>
                    </a:moveTo>
                    <a:lnTo>
                      <a:pt x="0" y="733"/>
                    </a:lnTo>
                    <a:lnTo>
                      <a:pt x="779" y="0"/>
                    </a:lnTo>
                    <a:lnTo>
                      <a:pt x="790" y="12"/>
                    </a:lnTo>
                    <a:lnTo>
                      <a:pt x="11" y="745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29" name="Freeform 88">
                <a:extLst>
                  <a:ext uri="{FF2B5EF4-FFF2-40B4-BE49-F238E27FC236}">
                    <a16:creationId xmlns:a16="http://schemas.microsoft.com/office/drawing/2014/main" id="{441E2418-8F62-4FFF-AD5F-9C4DA226A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6501" y="8458200"/>
                <a:ext cx="849313" cy="1335088"/>
              </a:xfrm>
              <a:custGeom>
                <a:avLst/>
                <a:gdLst>
                  <a:gd name="T0" fmla="*/ 13 w 535"/>
                  <a:gd name="T1" fmla="*/ 841 h 841"/>
                  <a:gd name="T2" fmla="*/ 0 w 535"/>
                  <a:gd name="T3" fmla="*/ 832 h 841"/>
                  <a:gd name="T4" fmla="*/ 522 w 535"/>
                  <a:gd name="T5" fmla="*/ 0 h 841"/>
                  <a:gd name="T6" fmla="*/ 535 w 535"/>
                  <a:gd name="T7" fmla="*/ 8 h 841"/>
                  <a:gd name="T8" fmla="*/ 13 w 535"/>
                  <a:gd name="T9" fmla="*/ 841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5" h="841">
                    <a:moveTo>
                      <a:pt x="13" y="841"/>
                    </a:moveTo>
                    <a:lnTo>
                      <a:pt x="0" y="832"/>
                    </a:lnTo>
                    <a:lnTo>
                      <a:pt x="522" y="0"/>
                    </a:lnTo>
                    <a:lnTo>
                      <a:pt x="535" y="8"/>
                    </a:lnTo>
                    <a:lnTo>
                      <a:pt x="13" y="841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0" name="Freeform 89">
                <a:extLst>
                  <a:ext uri="{FF2B5EF4-FFF2-40B4-BE49-F238E27FC236}">
                    <a16:creationId xmlns:a16="http://schemas.microsoft.com/office/drawing/2014/main" id="{8CED1DEF-852D-4996-8E35-A036415E4C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051" y="8451850"/>
                <a:ext cx="1646238" cy="125413"/>
              </a:xfrm>
              <a:custGeom>
                <a:avLst/>
                <a:gdLst>
                  <a:gd name="T0" fmla="*/ 1 w 1037"/>
                  <a:gd name="T1" fmla="*/ 79 h 79"/>
                  <a:gd name="T2" fmla="*/ 0 w 1037"/>
                  <a:gd name="T3" fmla="*/ 63 h 79"/>
                  <a:gd name="T4" fmla="*/ 1036 w 1037"/>
                  <a:gd name="T5" fmla="*/ 0 h 79"/>
                  <a:gd name="T6" fmla="*/ 1037 w 1037"/>
                  <a:gd name="T7" fmla="*/ 16 h 79"/>
                  <a:gd name="T8" fmla="*/ 1 w 1037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7" h="79">
                    <a:moveTo>
                      <a:pt x="1" y="79"/>
                    </a:moveTo>
                    <a:lnTo>
                      <a:pt x="0" y="63"/>
                    </a:lnTo>
                    <a:lnTo>
                      <a:pt x="1036" y="0"/>
                    </a:lnTo>
                    <a:lnTo>
                      <a:pt x="1037" y="16"/>
                    </a:lnTo>
                    <a:lnTo>
                      <a:pt x="1" y="79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1" name="Freeform 90">
                <a:extLst>
                  <a:ext uri="{FF2B5EF4-FFF2-40B4-BE49-F238E27FC236}">
                    <a16:creationId xmlns:a16="http://schemas.microsoft.com/office/drawing/2014/main" id="{7433B0E3-253D-4AF5-AB5A-359A0DDFE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746250" y="5257800"/>
                <a:ext cx="1657350" cy="877888"/>
              </a:xfrm>
              <a:custGeom>
                <a:avLst/>
                <a:gdLst>
                  <a:gd name="T0" fmla="*/ 2160 w 2175"/>
                  <a:gd name="T1" fmla="*/ 0 h 1152"/>
                  <a:gd name="T2" fmla="*/ 0 w 2175"/>
                  <a:gd name="T3" fmla="*/ 1122 h 1152"/>
                  <a:gd name="T4" fmla="*/ 15 w 2175"/>
                  <a:gd name="T5" fmla="*/ 1152 h 1152"/>
                  <a:gd name="T6" fmla="*/ 2175 w 2175"/>
                  <a:gd name="T7" fmla="*/ 30 h 1152"/>
                  <a:gd name="T8" fmla="*/ 2160 w 2175"/>
                  <a:gd name="T9" fmla="*/ 0 h 1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75" h="1152">
                    <a:moveTo>
                      <a:pt x="2160" y="0"/>
                    </a:moveTo>
                    <a:lnTo>
                      <a:pt x="0" y="1122"/>
                    </a:lnTo>
                    <a:lnTo>
                      <a:pt x="15" y="1152"/>
                    </a:lnTo>
                    <a:lnTo>
                      <a:pt x="2175" y="30"/>
                    </a:lnTo>
                    <a:cubicBezTo>
                      <a:pt x="2170" y="20"/>
                      <a:pt x="2164" y="11"/>
                      <a:pt x="2160" y="0"/>
                    </a:cubicBez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2" name="Freeform 91">
                <a:extLst>
                  <a:ext uri="{FF2B5EF4-FFF2-40B4-BE49-F238E27FC236}">
                    <a16:creationId xmlns:a16="http://schemas.microsoft.com/office/drawing/2014/main" id="{30A34545-CD5B-4AA4-AA7A-FBBFFCB07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751012" y="2224088"/>
                <a:ext cx="487363" cy="506413"/>
              </a:xfrm>
              <a:custGeom>
                <a:avLst/>
                <a:gdLst>
                  <a:gd name="T0" fmla="*/ 639 w 639"/>
                  <a:gd name="T1" fmla="*/ 639 h 664"/>
                  <a:gd name="T2" fmla="*/ 24 w 639"/>
                  <a:gd name="T3" fmla="*/ 0 h 664"/>
                  <a:gd name="T4" fmla="*/ 0 w 639"/>
                  <a:gd name="T5" fmla="*/ 24 h 664"/>
                  <a:gd name="T6" fmla="*/ 617 w 639"/>
                  <a:gd name="T7" fmla="*/ 664 h 664"/>
                  <a:gd name="T8" fmla="*/ 639 w 639"/>
                  <a:gd name="T9" fmla="*/ 639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9" h="664">
                    <a:moveTo>
                      <a:pt x="639" y="639"/>
                    </a:moveTo>
                    <a:lnTo>
                      <a:pt x="24" y="0"/>
                    </a:lnTo>
                    <a:lnTo>
                      <a:pt x="0" y="24"/>
                    </a:lnTo>
                    <a:lnTo>
                      <a:pt x="617" y="664"/>
                    </a:lnTo>
                    <a:cubicBezTo>
                      <a:pt x="624" y="656"/>
                      <a:pt x="631" y="647"/>
                      <a:pt x="639" y="639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3" name="Freeform 92">
                <a:extLst>
                  <a:ext uri="{FF2B5EF4-FFF2-40B4-BE49-F238E27FC236}">
                    <a16:creationId xmlns:a16="http://schemas.microsoft.com/office/drawing/2014/main" id="{10589DFB-1BD2-4E71-96D8-7A5790B32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30387" y="636588"/>
                <a:ext cx="1379538" cy="160338"/>
              </a:xfrm>
              <a:custGeom>
                <a:avLst/>
                <a:gdLst>
                  <a:gd name="T0" fmla="*/ 868 w 869"/>
                  <a:gd name="T1" fmla="*/ 101 h 101"/>
                  <a:gd name="T2" fmla="*/ 0 w 869"/>
                  <a:gd name="T3" fmla="*/ 15 h 101"/>
                  <a:gd name="T4" fmla="*/ 2 w 869"/>
                  <a:gd name="T5" fmla="*/ 0 h 101"/>
                  <a:gd name="T6" fmla="*/ 869 w 869"/>
                  <a:gd name="T7" fmla="*/ 86 h 101"/>
                  <a:gd name="T8" fmla="*/ 868 w 869"/>
                  <a:gd name="T9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9" h="101">
                    <a:moveTo>
                      <a:pt x="868" y="101"/>
                    </a:moveTo>
                    <a:lnTo>
                      <a:pt x="0" y="15"/>
                    </a:lnTo>
                    <a:lnTo>
                      <a:pt x="2" y="0"/>
                    </a:lnTo>
                    <a:lnTo>
                      <a:pt x="869" y="86"/>
                    </a:lnTo>
                    <a:lnTo>
                      <a:pt x="868" y="101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4" name="Freeform 93">
                <a:extLst>
                  <a:ext uri="{FF2B5EF4-FFF2-40B4-BE49-F238E27FC236}">
                    <a16:creationId xmlns:a16="http://schemas.microsoft.com/office/drawing/2014/main" id="{F9AD5B91-1CD5-4B75-A99C-3E2CED53C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9438" y="-2946400"/>
                <a:ext cx="1016000" cy="962025"/>
              </a:xfrm>
              <a:custGeom>
                <a:avLst/>
                <a:gdLst>
                  <a:gd name="T0" fmla="*/ 11 w 640"/>
                  <a:gd name="T1" fmla="*/ 606 h 606"/>
                  <a:gd name="T2" fmla="*/ 0 w 640"/>
                  <a:gd name="T3" fmla="*/ 595 h 606"/>
                  <a:gd name="T4" fmla="*/ 628 w 640"/>
                  <a:gd name="T5" fmla="*/ 0 h 606"/>
                  <a:gd name="T6" fmla="*/ 640 w 640"/>
                  <a:gd name="T7" fmla="*/ 11 h 606"/>
                  <a:gd name="T8" fmla="*/ 11 w 640"/>
                  <a:gd name="T9" fmla="*/ 606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0" h="606">
                    <a:moveTo>
                      <a:pt x="11" y="606"/>
                    </a:moveTo>
                    <a:lnTo>
                      <a:pt x="0" y="595"/>
                    </a:lnTo>
                    <a:lnTo>
                      <a:pt x="628" y="0"/>
                    </a:lnTo>
                    <a:lnTo>
                      <a:pt x="640" y="11"/>
                    </a:lnTo>
                    <a:lnTo>
                      <a:pt x="11" y="606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5" name="Freeform 94">
                <a:extLst>
                  <a:ext uri="{FF2B5EF4-FFF2-40B4-BE49-F238E27FC236}">
                    <a16:creationId xmlns:a16="http://schemas.microsoft.com/office/drawing/2014/main" id="{7F5AE0D6-2839-4C27-A0C0-70B7DCBAC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2976" y="-2814638"/>
                <a:ext cx="923925" cy="830263"/>
              </a:xfrm>
              <a:custGeom>
                <a:avLst/>
                <a:gdLst>
                  <a:gd name="T0" fmla="*/ 571 w 582"/>
                  <a:gd name="T1" fmla="*/ 523 h 523"/>
                  <a:gd name="T2" fmla="*/ 0 w 582"/>
                  <a:gd name="T3" fmla="*/ 11 h 523"/>
                  <a:gd name="T4" fmla="*/ 11 w 582"/>
                  <a:gd name="T5" fmla="*/ 0 h 523"/>
                  <a:gd name="T6" fmla="*/ 582 w 582"/>
                  <a:gd name="T7" fmla="*/ 511 h 523"/>
                  <a:gd name="T8" fmla="*/ 571 w 582"/>
                  <a:gd name="T9" fmla="*/ 523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2" h="523">
                    <a:moveTo>
                      <a:pt x="571" y="523"/>
                    </a:moveTo>
                    <a:lnTo>
                      <a:pt x="0" y="11"/>
                    </a:lnTo>
                    <a:lnTo>
                      <a:pt x="11" y="0"/>
                    </a:lnTo>
                    <a:lnTo>
                      <a:pt x="582" y="511"/>
                    </a:lnTo>
                    <a:lnTo>
                      <a:pt x="571" y="523"/>
                    </a:lnTo>
                    <a:close/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6" name="Freeform 95">
                <a:extLst>
                  <a:ext uri="{FF2B5EF4-FFF2-40B4-BE49-F238E27FC236}">
                    <a16:creationId xmlns:a16="http://schemas.microsoft.com/office/drawing/2014/main" id="{F86E0756-5BCA-4AC0-93D0-8C776B7B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6576" y="-4178300"/>
                <a:ext cx="574675" cy="1052513"/>
              </a:xfrm>
              <a:custGeom>
                <a:avLst/>
                <a:gdLst>
                  <a:gd name="T0" fmla="*/ 755 w 755"/>
                  <a:gd name="T1" fmla="*/ 1364 h 1382"/>
                  <a:gd name="T2" fmla="*/ 29 w 755"/>
                  <a:gd name="T3" fmla="*/ 0 h 1382"/>
                  <a:gd name="T4" fmla="*/ 0 w 755"/>
                  <a:gd name="T5" fmla="*/ 15 h 1382"/>
                  <a:gd name="T6" fmla="*/ 727 w 755"/>
                  <a:gd name="T7" fmla="*/ 1382 h 1382"/>
                  <a:gd name="T8" fmla="*/ 755 w 755"/>
                  <a:gd name="T9" fmla="*/ 1364 h 1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5" h="1382">
                    <a:moveTo>
                      <a:pt x="755" y="1364"/>
                    </a:moveTo>
                    <a:lnTo>
                      <a:pt x="29" y="0"/>
                    </a:lnTo>
                    <a:lnTo>
                      <a:pt x="0" y="15"/>
                    </a:lnTo>
                    <a:lnTo>
                      <a:pt x="727" y="1382"/>
                    </a:lnTo>
                    <a:cubicBezTo>
                      <a:pt x="736" y="1375"/>
                      <a:pt x="745" y="1370"/>
                      <a:pt x="755" y="1364"/>
                    </a:cubicBezTo>
                  </a:path>
                </a:pathLst>
              </a:custGeom>
              <a:solidFill>
                <a:srgbClr val="918F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7" name="Freeform 96">
                <a:extLst>
                  <a:ext uri="{FF2B5EF4-FFF2-40B4-BE49-F238E27FC236}">
                    <a16:creationId xmlns:a16="http://schemas.microsoft.com/office/drawing/2014/main" id="{96F01E4C-81BE-4825-9C35-B68DA4B1B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5438" y="-915988"/>
                <a:ext cx="619125" cy="619125"/>
              </a:xfrm>
              <a:custGeom>
                <a:avLst/>
                <a:gdLst>
                  <a:gd name="T0" fmla="*/ 406 w 812"/>
                  <a:gd name="T1" fmla="*/ 591 h 812"/>
                  <a:gd name="T2" fmla="*/ 221 w 812"/>
                  <a:gd name="T3" fmla="*/ 406 h 812"/>
                  <a:gd name="T4" fmla="*/ 406 w 812"/>
                  <a:gd name="T5" fmla="*/ 221 h 812"/>
                  <a:gd name="T6" fmla="*/ 591 w 812"/>
                  <a:gd name="T7" fmla="*/ 406 h 812"/>
                  <a:gd name="T8" fmla="*/ 406 w 812"/>
                  <a:gd name="T9" fmla="*/ 591 h 812"/>
                  <a:gd name="T10" fmla="*/ 406 w 812"/>
                  <a:gd name="T11" fmla="*/ 0 h 812"/>
                  <a:gd name="T12" fmla="*/ 0 w 812"/>
                  <a:gd name="T13" fmla="*/ 406 h 812"/>
                  <a:gd name="T14" fmla="*/ 406 w 812"/>
                  <a:gd name="T15" fmla="*/ 812 h 812"/>
                  <a:gd name="T16" fmla="*/ 812 w 812"/>
                  <a:gd name="T17" fmla="*/ 406 h 812"/>
                  <a:gd name="T18" fmla="*/ 406 w 812"/>
                  <a:gd name="T19" fmla="*/ 0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2" h="812">
                    <a:moveTo>
                      <a:pt x="406" y="591"/>
                    </a:moveTo>
                    <a:cubicBezTo>
                      <a:pt x="304" y="591"/>
                      <a:pt x="221" y="508"/>
                      <a:pt x="221" y="406"/>
                    </a:cubicBezTo>
                    <a:cubicBezTo>
                      <a:pt x="221" y="304"/>
                      <a:pt x="304" y="221"/>
                      <a:pt x="406" y="221"/>
                    </a:cubicBezTo>
                    <a:cubicBezTo>
                      <a:pt x="508" y="221"/>
                      <a:pt x="591" y="304"/>
                      <a:pt x="591" y="406"/>
                    </a:cubicBezTo>
                    <a:cubicBezTo>
                      <a:pt x="591" y="508"/>
                      <a:pt x="508" y="591"/>
                      <a:pt x="406" y="591"/>
                    </a:cubicBezTo>
                    <a:close/>
                    <a:moveTo>
                      <a:pt x="406" y="0"/>
                    </a:moveTo>
                    <a:cubicBezTo>
                      <a:pt x="182" y="0"/>
                      <a:pt x="0" y="182"/>
                      <a:pt x="0" y="406"/>
                    </a:cubicBezTo>
                    <a:cubicBezTo>
                      <a:pt x="0" y="630"/>
                      <a:pt x="182" y="812"/>
                      <a:pt x="406" y="812"/>
                    </a:cubicBezTo>
                    <a:cubicBezTo>
                      <a:pt x="630" y="812"/>
                      <a:pt x="812" y="630"/>
                      <a:pt x="812" y="406"/>
                    </a:cubicBezTo>
                    <a:cubicBezTo>
                      <a:pt x="812" y="182"/>
                      <a:pt x="630" y="0"/>
                      <a:pt x="406" y="0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8" name="Oval 97">
                <a:extLst>
                  <a:ext uri="{FF2B5EF4-FFF2-40B4-BE49-F238E27FC236}">
                    <a16:creationId xmlns:a16="http://schemas.microsoft.com/office/drawing/2014/main" id="{6B2CF5F0-DC7E-4838-BCD4-5C0E27B3C3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32463" y="-946150"/>
                <a:ext cx="568325" cy="568325"/>
              </a:xfrm>
              <a:prstGeom prst="ellipse">
                <a:avLst/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39" name="Oval 98">
                <a:extLst>
                  <a:ext uri="{FF2B5EF4-FFF2-40B4-BE49-F238E27FC236}">
                    <a16:creationId xmlns:a16="http://schemas.microsoft.com/office/drawing/2014/main" id="{F5A83D94-7BA7-4CC4-B2A4-4E141DA6E8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49138" y="2954338"/>
                <a:ext cx="568325" cy="568325"/>
              </a:xfrm>
              <a:prstGeom prst="ellipse">
                <a:avLst/>
              </a:pr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0" name="Oval 99">
                <a:extLst>
                  <a:ext uri="{FF2B5EF4-FFF2-40B4-BE49-F238E27FC236}">
                    <a16:creationId xmlns:a16="http://schemas.microsoft.com/office/drawing/2014/main" id="{0661C7E5-5A2A-4B26-9040-06237E19A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3476" y="-3502025"/>
                <a:ext cx="374650" cy="376238"/>
              </a:xfrm>
              <a:prstGeom prst="ellipse">
                <a:avLst/>
              </a:prstGeom>
              <a:solidFill>
                <a:srgbClr val="8B9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1" name="Freeform 100">
                <a:extLst>
                  <a:ext uri="{FF2B5EF4-FFF2-40B4-BE49-F238E27FC236}">
                    <a16:creationId xmlns:a16="http://schemas.microsoft.com/office/drawing/2014/main" id="{BC6E760F-A40E-4EC6-B530-A4DFB43012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91676" y="-71438"/>
                <a:ext cx="622300" cy="622300"/>
              </a:xfrm>
              <a:custGeom>
                <a:avLst/>
                <a:gdLst>
                  <a:gd name="T0" fmla="*/ 408 w 816"/>
                  <a:gd name="T1" fmla="*/ 643 h 816"/>
                  <a:gd name="T2" fmla="*/ 172 w 816"/>
                  <a:gd name="T3" fmla="*/ 408 h 816"/>
                  <a:gd name="T4" fmla="*/ 408 w 816"/>
                  <a:gd name="T5" fmla="*/ 173 h 816"/>
                  <a:gd name="T6" fmla="*/ 643 w 816"/>
                  <a:gd name="T7" fmla="*/ 408 h 816"/>
                  <a:gd name="T8" fmla="*/ 408 w 816"/>
                  <a:gd name="T9" fmla="*/ 643 h 816"/>
                  <a:gd name="T10" fmla="*/ 408 w 816"/>
                  <a:gd name="T11" fmla="*/ 0 h 816"/>
                  <a:gd name="T12" fmla="*/ 0 w 816"/>
                  <a:gd name="T13" fmla="*/ 408 h 816"/>
                  <a:gd name="T14" fmla="*/ 408 w 816"/>
                  <a:gd name="T15" fmla="*/ 816 h 816"/>
                  <a:gd name="T16" fmla="*/ 816 w 816"/>
                  <a:gd name="T17" fmla="*/ 408 h 816"/>
                  <a:gd name="T18" fmla="*/ 408 w 816"/>
                  <a:gd name="T19" fmla="*/ 0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6" h="816">
                    <a:moveTo>
                      <a:pt x="408" y="643"/>
                    </a:moveTo>
                    <a:cubicBezTo>
                      <a:pt x="278" y="643"/>
                      <a:pt x="172" y="538"/>
                      <a:pt x="172" y="408"/>
                    </a:cubicBezTo>
                    <a:cubicBezTo>
                      <a:pt x="172" y="278"/>
                      <a:pt x="278" y="173"/>
                      <a:pt x="408" y="173"/>
                    </a:cubicBezTo>
                    <a:cubicBezTo>
                      <a:pt x="537" y="173"/>
                      <a:pt x="643" y="278"/>
                      <a:pt x="643" y="408"/>
                    </a:cubicBezTo>
                    <a:cubicBezTo>
                      <a:pt x="643" y="538"/>
                      <a:pt x="537" y="643"/>
                      <a:pt x="408" y="643"/>
                    </a:cubicBezTo>
                    <a:close/>
                    <a:moveTo>
                      <a:pt x="408" y="0"/>
                    </a:moveTo>
                    <a:cubicBezTo>
                      <a:pt x="182" y="0"/>
                      <a:pt x="0" y="183"/>
                      <a:pt x="0" y="408"/>
                    </a:cubicBezTo>
                    <a:cubicBezTo>
                      <a:pt x="0" y="633"/>
                      <a:pt x="182" y="816"/>
                      <a:pt x="408" y="816"/>
                    </a:cubicBezTo>
                    <a:cubicBezTo>
                      <a:pt x="633" y="816"/>
                      <a:pt x="816" y="633"/>
                      <a:pt x="816" y="408"/>
                    </a:cubicBezTo>
                    <a:cubicBezTo>
                      <a:pt x="816" y="183"/>
                      <a:pt x="633" y="0"/>
                      <a:pt x="408" y="0"/>
                    </a:cubicBezTo>
                    <a:close/>
                  </a:path>
                </a:pathLst>
              </a:cu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2" name="Freeform 101">
                <a:extLst>
                  <a:ext uri="{FF2B5EF4-FFF2-40B4-BE49-F238E27FC236}">
                    <a16:creationId xmlns:a16="http://schemas.microsoft.com/office/drawing/2014/main" id="{25A18B6F-01F2-433E-A07A-1C58350C1C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69363" y="1374775"/>
                <a:ext cx="868363" cy="868363"/>
              </a:xfrm>
              <a:custGeom>
                <a:avLst/>
                <a:gdLst>
                  <a:gd name="T0" fmla="*/ 570 w 1139"/>
                  <a:gd name="T1" fmla="*/ 852 h 1139"/>
                  <a:gd name="T2" fmla="*/ 287 w 1139"/>
                  <a:gd name="T3" fmla="*/ 569 h 1139"/>
                  <a:gd name="T4" fmla="*/ 570 w 1139"/>
                  <a:gd name="T5" fmla="*/ 287 h 1139"/>
                  <a:gd name="T6" fmla="*/ 852 w 1139"/>
                  <a:gd name="T7" fmla="*/ 569 h 1139"/>
                  <a:gd name="T8" fmla="*/ 570 w 1139"/>
                  <a:gd name="T9" fmla="*/ 852 h 1139"/>
                  <a:gd name="T10" fmla="*/ 570 w 1139"/>
                  <a:gd name="T11" fmla="*/ 0 h 1139"/>
                  <a:gd name="T12" fmla="*/ 0 w 1139"/>
                  <a:gd name="T13" fmla="*/ 569 h 1139"/>
                  <a:gd name="T14" fmla="*/ 570 w 1139"/>
                  <a:gd name="T15" fmla="*/ 1139 h 1139"/>
                  <a:gd name="T16" fmla="*/ 1139 w 1139"/>
                  <a:gd name="T17" fmla="*/ 569 h 1139"/>
                  <a:gd name="T18" fmla="*/ 570 w 1139"/>
                  <a:gd name="T19" fmla="*/ 0 h 1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9" h="1139">
                    <a:moveTo>
                      <a:pt x="570" y="852"/>
                    </a:moveTo>
                    <a:cubicBezTo>
                      <a:pt x="414" y="852"/>
                      <a:pt x="287" y="725"/>
                      <a:pt x="287" y="569"/>
                    </a:cubicBezTo>
                    <a:cubicBezTo>
                      <a:pt x="287" y="413"/>
                      <a:pt x="414" y="287"/>
                      <a:pt x="570" y="287"/>
                    </a:cubicBezTo>
                    <a:cubicBezTo>
                      <a:pt x="726" y="287"/>
                      <a:pt x="852" y="413"/>
                      <a:pt x="852" y="569"/>
                    </a:cubicBezTo>
                    <a:cubicBezTo>
                      <a:pt x="852" y="725"/>
                      <a:pt x="726" y="852"/>
                      <a:pt x="570" y="852"/>
                    </a:cubicBezTo>
                    <a:close/>
                    <a:moveTo>
                      <a:pt x="570" y="0"/>
                    </a:moveTo>
                    <a:cubicBezTo>
                      <a:pt x="255" y="0"/>
                      <a:pt x="0" y="255"/>
                      <a:pt x="0" y="569"/>
                    </a:cubicBezTo>
                    <a:cubicBezTo>
                      <a:pt x="0" y="884"/>
                      <a:pt x="255" y="1139"/>
                      <a:pt x="570" y="1139"/>
                    </a:cubicBezTo>
                    <a:cubicBezTo>
                      <a:pt x="884" y="1139"/>
                      <a:pt x="1139" y="884"/>
                      <a:pt x="1139" y="569"/>
                    </a:cubicBezTo>
                    <a:cubicBezTo>
                      <a:pt x="1139" y="255"/>
                      <a:pt x="884" y="0"/>
                      <a:pt x="570" y="0"/>
                    </a:cubicBezTo>
                    <a:close/>
                  </a:path>
                </a:pathLst>
              </a:custGeom>
              <a:solidFill>
                <a:srgbClr val="5B9B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3" name="Freeform 102">
                <a:extLst>
                  <a:ext uri="{FF2B5EF4-FFF2-40B4-BE49-F238E27FC236}">
                    <a16:creationId xmlns:a16="http://schemas.microsoft.com/office/drawing/2014/main" id="{D74C3726-EAB9-453B-8269-8E49ADEA9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6351" y="5524500"/>
                <a:ext cx="673100" cy="673100"/>
              </a:xfrm>
              <a:custGeom>
                <a:avLst/>
                <a:gdLst>
                  <a:gd name="T0" fmla="*/ 441 w 882"/>
                  <a:gd name="T1" fmla="*/ 693 h 882"/>
                  <a:gd name="T2" fmla="*/ 188 w 882"/>
                  <a:gd name="T3" fmla="*/ 441 h 882"/>
                  <a:gd name="T4" fmla="*/ 441 w 882"/>
                  <a:gd name="T5" fmla="*/ 188 h 882"/>
                  <a:gd name="T6" fmla="*/ 693 w 882"/>
                  <a:gd name="T7" fmla="*/ 441 h 882"/>
                  <a:gd name="T8" fmla="*/ 441 w 882"/>
                  <a:gd name="T9" fmla="*/ 693 h 882"/>
                  <a:gd name="T10" fmla="*/ 441 w 882"/>
                  <a:gd name="T11" fmla="*/ 0 h 882"/>
                  <a:gd name="T12" fmla="*/ 0 w 882"/>
                  <a:gd name="T13" fmla="*/ 441 h 882"/>
                  <a:gd name="T14" fmla="*/ 441 w 882"/>
                  <a:gd name="T15" fmla="*/ 882 h 882"/>
                  <a:gd name="T16" fmla="*/ 882 w 882"/>
                  <a:gd name="T17" fmla="*/ 441 h 882"/>
                  <a:gd name="T18" fmla="*/ 441 w 882"/>
                  <a:gd name="T19" fmla="*/ 0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82" h="882">
                    <a:moveTo>
                      <a:pt x="441" y="693"/>
                    </a:moveTo>
                    <a:cubicBezTo>
                      <a:pt x="301" y="693"/>
                      <a:pt x="188" y="580"/>
                      <a:pt x="188" y="441"/>
                    </a:cubicBezTo>
                    <a:cubicBezTo>
                      <a:pt x="188" y="301"/>
                      <a:pt x="301" y="188"/>
                      <a:pt x="441" y="188"/>
                    </a:cubicBezTo>
                    <a:cubicBezTo>
                      <a:pt x="580" y="188"/>
                      <a:pt x="693" y="301"/>
                      <a:pt x="693" y="441"/>
                    </a:cubicBezTo>
                    <a:cubicBezTo>
                      <a:pt x="693" y="580"/>
                      <a:pt x="580" y="693"/>
                      <a:pt x="441" y="693"/>
                    </a:cubicBezTo>
                    <a:close/>
                    <a:moveTo>
                      <a:pt x="441" y="0"/>
                    </a:moveTo>
                    <a:cubicBezTo>
                      <a:pt x="197" y="0"/>
                      <a:pt x="0" y="197"/>
                      <a:pt x="0" y="441"/>
                    </a:cubicBezTo>
                    <a:cubicBezTo>
                      <a:pt x="0" y="684"/>
                      <a:pt x="197" y="882"/>
                      <a:pt x="441" y="882"/>
                    </a:cubicBezTo>
                    <a:cubicBezTo>
                      <a:pt x="684" y="882"/>
                      <a:pt x="882" y="684"/>
                      <a:pt x="882" y="441"/>
                    </a:cubicBezTo>
                    <a:cubicBezTo>
                      <a:pt x="882" y="197"/>
                      <a:pt x="684" y="0"/>
                      <a:pt x="441" y="0"/>
                    </a:cubicBezTo>
                    <a:close/>
                  </a:path>
                </a:pathLst>
              </a:custGeom>
              <a:solidFill>
                <a:srgbClr val="ED7D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4" name="Freeform 103">
                <a:extLst>
                  <a:ext uri="{FF2B5EF4-FFF2-40B4-BE49-F238E27FC236}">
                    <a16:creationId xmlns:a16="http://schemas.microsoft.com/office/drawing/2014/main" id="{7A926CAA-E242-4144-B2F9-DC37301AAD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55587" y="4840288"/>
                <a:ext cx="674688" cy="674688"/>
              </a:xfrm>
              <a:custGeom>
                <a:avLst/>
                <a:gdLst>
                  <a:gd name="T0" fmla="*/ 442 w 884"/>
                  <a:gd name="T1" fmla="*/ 655 h 885"/>
                  <a:gd name="T2" fmla="*/ 229 w 884"/>
                  <a:gd name="T3" fmla="*/ 443 h 885"/>
                  <a:gd name="T4" fmla="*/ 442 w 884"/>
                  <a:gd name="T5" fmla="*/ 230 h 885"/>
                  <a:gd name="T6" fmla="*/ 654 w 884"/>
                  <a:gd name="T7" fmla="*/ 443 h 885"/>
                  <a:gd name="T8" fmla="*/ 442 w 884"/>
                  <a:gd name="T9" fmla="*/ 655 h 885"/>
                  <a:gd name="T10" fmla="*/ 442 w 884"/>
                  <a:gd name="T11" fmla="*/ 0 h 885"/>
                  <a:gd name="T12" fmla="*/ 0 w 884"/>
                  <a:gd name="T13" fmla="*/ 443 h 885"/>
                  <a:gd name="T14" fmla="*/ 442 w 884"/>
                  <a:gd name="T15" fmla="*/ 885 h 885"/>
                  <a:gd name="T16" fmla="*/ 884 w 884"/>
                  <a:gd name="T17" fmla="*/ 443 h 885"/>
                  <a:gd name="T18" fmla="*/ 442 w 884"/>
                  <a:gd name="T19" fmla="*/ 0 h 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84" h="885">
                    <a:moveTo>
                      <a:pt x="442" y="655"/>
                    </a:moveTo>
                    <a:cubicBezTo>
                      <a:pt x="324" y="655"/>
                      <a:pt x="229" y="560"/>
                      <a:pt x="229" y="443"/>
                    </a:cubicBezTo>
                    <a:cubicBezTo>
                      <a:pt x="229" y="325"/>
                      <a:pt x="324" y="230"/>
                      <a:pt x="442" y="230"/>
                    </a:cubicBezTo>
                    <a:cubicBezTo>
                      <a:pt x="559" y="230"/>
                      <a:pt x="654" y="325"/>
                      <a:pt x="654" y="443"/>
                    </a:cubicBezTo>
                    <a:cubicBezTo>
                      <a:pt x="654" y="560"/>
                      <a:pt x="559" y="655"/>
                      <a:pt x="442" y="655"/>
                    </a:cubicBezTo>
                    <a:close/>
                    <a:moveTo>
                      <a:pt x="442" y="0"/>
                    </a:moveTo>
                    <a:cubicBezTo>
                      <a:pt x="198" y="0"/>
                      <a:pt x="0" y="198"/>
                      <a:pt x="0" y="443"/>
                    </a:cubicBezTo>
                    <a:cubicBezTo>
                      <a:pt x="0" y="687"/>
                      <a:pt x="198" y="885"/>
                      <a:pt x="442" y="885"/>
                    </a:cubicBezTo>
                    <a:cubicBezTo>
                      <a:pt x="686" y="885"/>
                      <a:pt x="884" y="687"/>
                      <a:pt x="884" y="443"/>
                    </a:cubicBezTo>
                    <a:cubicBezTo>
                      <a:pt x="884" y="198"/>
                      <a:pt x="686" y="0"/>
                      <a:pt x="442" y="0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5" name="Oval 104">
                <a:extLst>
                  <a:ext uri="{FF2B5EF4-FFF2-40B4-BE49-F238E27FC236}">
                    <a16:creationId xmlns:a16="http://schemas.microsoft.com/office/drawing/2014/main" id="{C1323894-2B0A-4A57-99C6-1BB4840D80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97388" y="9175750"/>
                <a:ext cx="514350" cy="51435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6" name="Oval 105">
                <a:extLst>
                  <a:ext uri="{FF2B5EF4-FFF2-40B4-BE49-F238E27FC236}">
                    <a16:creationId xmlns:a16="http://schemas.microsoft.com/office/drawing/2014/main" id="{4E66C27E-82B9-4C55-9B97-FC8BDEA1F2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7376" y="8275638"/>
                <a:ext cx="376238" cy="376238"/>
              </a:xfrm>
              <a:prstGeom prst="ellipse">
                <a:avLst/>
              </a:prstGeom>
              <a:solidFill>
                <a:srgbClr val="8B9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7" name="Freeform 106">
                <a:extLst>
                  <a:ext uri="{FF2B5EF4-FFF2-40B4-BE49-F238E27FC236}">
                    <a16:creationId xmlns:a16="http://schemas.microsoft.com/office/drawing/2014/main" id="{36588728-4BAA-4C1B-8B39-F0BBE9E5C2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32813" y="8720138"/>
                <a:ext cx="809625" cy="809625"/>
              </a:xfrm>
              <a:custGeom>
                <a:avLst/>
                <a:gdLst>
                  <a:gd name="T0" fmla="*/ 530 w 1061"/>
                  <a:gd name="T1" fmla="*/ 820 h 1062"/>
                  <a:gd name="T2" fmla="*/ 241 w 1061"/>
                  <a:gd name="T3" fmla="*/ 531 h 1062"/>
                  <a:gd name="T4" fmla="*/ 530 w 1061"/>
                  <a:gd name="T5" fmla="*/ 242 h 1062"/>
                  <a:gd name="T6" fmla="*/ 820 w 1061"/>
                  <a:gd name="T7" fmla="*/ 531 h 1062"/>
                  <a:gd name="T8" fmla="*/ 530 w 1061"/>
                  <a:gd name="T9" fmla="*/ 820 h 1062"/>
                  <a:gd name="T10" fmla="*/ 530 w 1061"/>
                  <a:gd name="T11" fmla="*/ 0 h 1062"/>
                  <a:gd name="T12" fmla="*/ 0 w 1061"/>
                  <a:gd name="T13" fmla="*/ 531 h 1062"/>
                  <a:gd name="T14" fmla="*/ 530 w 1061"/>
                  <a:gd name="T15" fmla="*/ 1062 h 1062"/>
                  <a:gd name="T16" fmla="*/ 1061 w 1061"/>
                  <a:gd name="T17" fmla="*/ 531 h 1062"/>
                  <a:gd name="T18" fmla="*/ 530 w 1061"/>
                  <a:gd name="T19" fmla="*/ 0 h 1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61" h="1062">
                    <a:moveTo>
                      <a:pt x="530" y="820"/>
                    </a:moveTo>
                    <a:cubicBezTo>
                      <a:pt x="371" y="820"/>
                      <a:pt x="241" y="691"/>
                      <a:pt x="241" y="531"/>
                    </a:cubicBezTo>
                    <a:cubicBezTo>
                      <a:pt x="241" y="371"/>
                      <a:pt x="371" y="242"/>
                      <a:pt x="530" y="242"/>
                    </a:cubicBezTo>
                    <a:cubicBezTo>
                      <a:pt x="690" y="242"/>
                      <a:pt x="820" y="371"/>
                      <a:pt x="820" y="531"/>
                    </a:cubicBezTo>
                    <a:cubicBezTo>
                      <a:pt x="820" y="691"/>
                      <a:pt x="690" y="820"/>
                      <a:pt x="530" y="820"/>
                    </a:cubicBezTo>
                    <a:close/>
                    <a:moveTo>
                      <a:pt x="530" y="0"/>
                    </a:moveTo>
                    <a:cubicBezTo>
                      <a:pt x="237" y="0"/>
                      <a:pt x="0" y="238"/>
                      <a:pt x="0" y="531"/>
                    </a:cubicBezTo>
                    <a:cubicBezTo>
                      <a:pt x="0" y="824"/>
                      <a:pt x="237" y="1062"/>
                      <a:pt x="530" y="1062"/>
                    </a:cubicBezTo>
                    <a:cubicBezTo>
                      <a:pt x="823" y="1062"/>
                      <a:pt x="1061" y="824"/>
                      <a:pt x="1061" y="531"/>
                    </a:cubicBezTo>
                    <a:cubicBezTo>
                      <a:pt x="1061" y="238"/>
                      <a:pt x="823" y="0"/>
                      <a:pt x="530" y="0"/>
                    </a:cubicBezTo>
                    <a:close/>
                  </a:path>
                </a:pathLst>
              </a:cu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8" name="Oval 107">
                <a:extLst>
                  <a:ext uri="{FF2B5EF4-FFF2-40B4-BE49-F238E27FC236}">
                    <a16:creationId xmlns:a16="http://schemas.microsoft.com/office/drawing/2014/main" id="{4C6B62D2-677F-4AB7-AC5F-B5D194629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639762" y="596900"/>
                <a:ext cx="376238" cy="376238"/>
              </a:xfrm>
              <a:prstGeom prst="ellipse">
                <a:avLst/>
              </a:prstGeom>
              <a:solidFill>
                <a:srgbClr val="8B9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49" name="Oval 108">
                <a:extLst>
                  <a:ext uri="{FF2B5EF4-FFF2-40B4-BE49-F238E27FC236}">
                    <a16:creationId xmlns:a16="http://schemas.microsoft.com/office/drawing/2014/main" id="{7F75BC56-37AB-4C86-A581-8E7DC1AB5A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0051" y="-2181225"/>
                <a:ext cx="376238" cy="376238"/>
              </a:xfrm>
              <a:prstGeom prst="ellipse">
                <a:avLst/>
              </a:prstGeom>
              <a:solidFill>
                <a:srgbClr val="8B90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0" name="Freeform 109">
                <a:extLst>
                  <a:ext uri="{FF2B5EF4-FFF2-40B4-BE49-F238E27FC236}">
                    <a16:creationId xmlns:a16="http://schemas.microsoft.com/office/drawing/2014/main" id="{3C5F0355-93EB-4ED8-92CC-9CDF4BBAB1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2901" y="2781300"/>
                <a:ext cx="722313" cy="722313"/>
              </a:xfrm>
              <a:custGeom>
                <a:avLst/>
                <a:gdLst>
                  <a:gd name="T0" fmla="*/ 474 w 948"/>
                  <a:gd name="T1" fmla="*/ 725 h 948"/>
                  <a:gd name="T2" fmla="*/ 223 w 948"/>
                  <a:gd name="T3" fmla="*/ 474 h 948"/>
                  <a:gd name="T4" fmla="*/ 474 w 948"/>
                  <a:gd name="T5" fmla="*/ 224 h 948"/>
                  <a:gd name="T6" fmla="*/ 725 w 948"/>
                  <a:gd name="T7" fmla="*/ 474 h 948"/>
                  <a:gd name="T8" fmla="*/ 474 w 948"/>
                  <a:gd name="T9" fmla="*/ 725 h 948"/>
                  <a:gd name="T10" fmla="*/ 474 w 948"/>
                  <a:gd name="T11" fmla="*/ 0 h 948"/>
                  <a:gd name="T12" fmla="*/ 0 w 948"/>
                  <a:gd name="T13" fmla="*/ 474 h 948"/>
                  <a:gd name="T14" fmla="*/ 474 w 948"/>
                  <a:gd name="T15" fmla="*/ 948 h 948"/>
                  <a:gd name="T16" fmla="*/ 948 w 948"/>
                  <a:gd name="T17" fmla="*/ 474 h 948"/>
                  <a:gd name="T18" fmla="*/ 474 w 948"/>
                  <a:gd name="T19" fmla="*/ 0 h 9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48" h="948">
                    <a:moveTo>
                      <a:pt x="474" y="725"/>
                    </a:moveTo>
                    <a:cubicBezTo>
                      <a:pt x="335" y="725"/>
                      <a:pt x="223" y="613"/>
                      <a:pt x="223" y="474"/>
                    </a:cubicBezTo>
                    <a:cubicBezTo>
                      <a:pt x="223" y="336"/>
                      <a:pt x="335" y="224"/>
                      <a:pt x="474" y="224"/>
                    </a:cubicBezTo>
                    <a:cubicBezTo>
                      <a:pt x="612" y="224"/>
                      <a:pt x="725" y="336"/>
                      <a:pt x="725" y="474"/>
                    </a:cubicBezTo>
                    <a:cubicBezTo>
                      <a:pt x="725" y="613"/>
                      <a:pt x="612" y="725"/>
                      <a:pt x="474" y="725"/>
                    </a:cubicBezTo>
                    <a:close/>
                    <a:moveTo>
                      <a:pt x="474" y="0"/>
                    </a:moveTo>
                    <a:cubicBezTo>
                      <a:pt x="212" y="0"/>
                      <a:pt x="0" y="212"/>
                      <a:pt x="0" y="474"/>
                    </a:cubicBezTo>
                    <a:cubicBezTo>
                      <a:pt x="0" y="736"/>
                      <a:pt x="212" y="948"/>
                      <a:pt x="474" y="948"/>
                    </a:cubicBezTo>
                    <a:cubicBezTo>
                      <a:pt x="736" y="948"/>
                      <a:pt x="948" y="736"/>
                      <a:pt x="948" y="474"/>
                    </a:cubicBezTo>
                    <a:cubicBezTo>
                      <a:pt x="948" y="212"/>
                      <a:pt x="736" y="0"/>
                      <a:pt x="474" y="0"/>
                    </a:cubicBez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1" name="Freeform 110">
                <a:extLst>
                  <a:ext uri="{FF2B5EF4-FFF2-40B4-BE49-F238E27FC236}">
                    <a16:creationId xmlns:a16="http://schemas.microsoft.com/office/drawing/2014/main" id="{E0C73B50-743D-49EA-8BFB-964FA449AB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83501" y="-2713038"/>
                <a:ext cx="722313" cy="722313"/>
              </a:xfrm>
              <a:custGeom>
                <a:avLst/>
                <a:gdLst>
                  <a:gd name="T0" fmla="*/ 474 w 948"/>
                  <a:gd name="T1" fmla="*/ 725 h 948"/>
                  <a:gd name="T2" fmla="*/ 224 w 948"/>
                  <a:gd name="T3" fmla="*/ 474 h 948"/>
                  <a:gd name="T4" fmla="*/ 474 w 948"/>
                  <a:gd name="T5" fmla="*/ 223 h 948"/>
                  <a:gd name="T6" fmla="*/ 725 w 948"/>
                  <a:gd name="T7" fmla="*/ 474 h 948"/>
                  <a:gd name="T8" fmla="*/ 474 w 948"/>
                  <a:gd name="T9" fmla="*/ 725 h 948"/>
                  <a:gd name="T10" fmla="*/ 474 w 948"/>
                  <a:gd name="T11" fmla="*/ 0 h 948"/>
                  <a:gd name="T12" fmla="*/ 0 w 948"/>
                  <a:gd name="T13" fmla="*/ 474 h 948"/>
                  <a:gd name="T14" fmla="*/ 474 w 948"/>
                  <a:gd name="T15" fmla="*/ 948 h 948"/>
                  <a:gd name="T16" fmla="*/ 948 w 948"/>
                  <a:gd name="T17" fmla="*/ 474 h 948"/>
                  <a:gd name="T18" fmla="*/ 474 w 948"/>
                  <a:gd name="T19" fmla="*/ 0 h 9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48" h="948">
                    <a:moveTo>
                      <a:pt x="474" y="725"/>
                    </a:moveTo>
                    <a:cubicBezTo>
                      <a:pt x="336" y="725"/>
                      <a:pt x="224" y="612"/>
                      <a:pt x="224" y="474"/>
                    </a:cubicBezTo>
                    <a:cubicBezTo>
                      <a:pt x="224" y="335"/>
                      <a:pt x="336" y="223"/>
                      <a:pt x="474" y="223"/>
                    </a:cubicBezTo>
                    <a:cubicBezTo>
                      <a:pt x="613" y="223"/>
                      <a:pt x="725" y="335"/>
                      <a:pt x="725" y="474"/>
                    </a:cubicBezTo>
                    <a:cubicBezTo>
                      <a:pt x="725" y="612"/>
                      <a:pt x="613" y="725"/>
                      <a:pt x="474" y="725"/>
                    </a:cubicBezTo>
                    <a:close/>
                    <a:moveTo>
                      <a:pt x="474" y="0"/>
                    </a:moveTo>
                    <a:cubicBezTo>
                      <a:pt x="212" y="0"/>
                      <a:pt x="0" y="212"/>
                      <a:pt x="0" y="474"/>
                    </a:cubicBezTo>
                    <a:cubicBezTo>
                      <a:pt x="0" y="736"/>
                      <a:pt x="212" y="948"/>
                      <a:pt x="474" y="948"/>
                    </a:cubicBezTo>
                    <a:cubicBezTo>
                      <a:pt x="736" y="948"/>
                      <a:pt x="948" y="736"/>
                      <a:pt x="948" y="474"/>
                    </a:cubicBezTo>
                    <a:cubicBezTo>
                      <a:pt x="948" y="212"/>
                      <a:pt x="736" y="0"/>
                      <a:pt x="474" y="0"/>
                    </a:cubicBezTo>
                    <a:close/>
                  </a:path>
                </a:pathLst>
              </a:custGeom>
              <a:solidFill>
                <a:srgbClr val="4472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2" name="Oval 111">
                <a:extLst>
                  <a:ext uri="{FF2B5EF4-FFF2-40B4-BE49-F238E27FC236}">
                    <a16:creationId xmlns:a16="http://schemas.microsoft.com/office/drawing/2014/main" id="{6BD6591E-6227-4B61-ADAC-5B446DAAD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44363" y="-14288"/>
                <a:ext cx="376238" cy="376238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3" name="Oval 112">
                <a:extLst>
                  <a:ext uri="{FF2B5EF4-FFF2-40B4-BE49-F238E27FC236}">
                    <a16:creationId xmlns:a16="http://schemas.microsoft.com/office/drawing/2014/main" id="{AC4AB2A4-9F45-411B-AA4A-7F1D9BD1A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4263" y="9655175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4" name="Oval 113">
                <a:extLst>
                  <a:ext uri="{FF2B5EF4-FFF2-40B4-BE49-F238E27FC236}">
                    <a16:creationId xmlns:a16="http://schemas.microsoft.com/office/drawing/2014/main" id="{36A8B2D6-B5AC-4D4F-A384-52DB494B35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876" y="843280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5" name="Oval 114">
                <a:extLst>
                  <a:ext uri="{FF2B5EF4-FFF2-40B4-BE49-F238E27FC236}">
                    <a16:creationId xmlns:a16="http://schemas.microsoft.com/office/drawing/2014/main" id="{7DCC2E53-BC76-4ADB-A74E-D7BCBEA63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138" y="1046480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6" name="Oval 115">
                <a:extLst>
                  <a:ext uri="{FF2B5EF4-FFF2-40B4-BE49-F238E27FC236}">
                    <a16:creationId xmlns:a16="http://schemas.microsoft.com/office/drawing/2014/main" id="{5CA25C8A-8838-4226-956E-8FF64DCCAA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3363" y="11115675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7" name="Oval 116">
                <a:extLst>
                  <a:ext uri="{FF2B5EF4-FFF2-40B4-BE49-F238E27FC236}">
                    <a16:creationId xmlns:a16="http://schemas.microsoft.com/office/drawing/2014/main" id="{AB9BC873-D139-4808-9355-C254E43E04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74101" y="1046480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8" name="Oval 117">
                <a:extLst>
                  <a:ext uri="{FF2B5EF4-FFF2-40B4-BE49-F238E27FC236}">
                    <a16:creationId xmlns:a16="http://schemas.microsoft.com/office/drawing/2014/main" id="{2C4EED71-CCDD-45BE-98CE-EB8EA28ED6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6526" y="10464800"/>
                <a:ext cx="265113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59" name="Oval 118">
                <a:extLst>
                  <a:ext uri="{FF2B5EF4-FFF2-40B4-BE49-F238E27FC236}">
                    <a16:creationId xmlns:a16="http://schemas.microsoft.com/office/drawing/2014/main" id="{A352BFAB-BDFC-41B5-B0DF-FAA4EBAB9A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36376" y="920750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0" name="Oval 119">
                <a:extLst>
                  <a:ext uri="{FF2B5EF4-FFF2-40B4-BE49-F238E27FC236}">
                    <a16:creationId xmlns:a16="http://schemas.microsoft.com/office/drawing/2014/main" id="{01B7B657-DDEB-4E9F-94F4-24A5A323F1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7076" y="7304088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1" name="Oval 120">
                <a:extLst>
                  <a:ext uri="{FF2B5EF4-FFF2-40B4-BE49-F238E27FC236}">
                    <a16:creationId xmlns:a16="http://schemas.microsoft.com/office/drawing/2014/main" id="{A8F90D73-2B3F-462C-88CF-0022F80DF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89026" y="590550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2" name="Oval 121">
                <a:extLst>
                  <a:ext uri="{FF2B5EF4-FFF2-40B4-BE49-F238E27FC236}">
                    <a16:creationId xmlns:a16="http://schemas.microsoft.com/office/drawing/2014/main" id="{ADFD7244-ED7F-4EF6-ABCD-87FA7FF3D1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36601" y="210185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3" name="Oval 122">
                <a:extLst>
                  <a:ext uri="{FF2B5EF4-FFF2-40B4-BE49-F238E27FC236}">
                    <a16:creationId xmlns:a16="http://schemas.microsoft.com/office/drawing/2014/main" id="{20F6ED09-6733-4B28-8D46-B70E6BE51A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41313" y="-319088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4" name="Oval 123">
                <a:extLst>
                  <a:ext uri="{FF2B5EF4-FFF2-40B4-BE49-F238E27FC236}">
                    <a16:creationId xmlns:a16="http://schemas.microsoft.com/office/drawing/2014/main" id="{C3FB9B2C-2164-49A7-85EB-C0312C65F3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09551" y="1165225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5" name="Oval 124">
                <a:extLst>
                  <a:ext uri="{FF2B5EF4-FFF2-40B4-BE49-F238E27FC236}">
                    <a16:creationId xmlns:a16="http://schemas.microsoft.com/office/drawing/2014/main" id="{59DBF84B-EC04-4ACC-9D1A-AEE7090900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12601" y="-95250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6" name="Oval 125">
                <a:extLst>
                  <a:ext uri="{FF2B5EF4-FFF2-40B4-BE49-F238E27FC236}">
                    <a16:creationId xmlns:a16="http://schemas.microsoft.com/office/drawing/2014/main" id="{B2852724-197F-4C5D-ABE5-8D81FDD935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10788" y="-3633788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7" name="Oval 126">
                <a:extLst>
                  <a:ext uri="{FF2B5EF4-FFF2-40B4-BE49-F238E27FC236}">
                    <a16:creationId xmlns:a16="http://schemas.microsoft.com/office/drawing/2014/main" id="{6CD3D887-D67F-4487-A164-9E2B9D9248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45376" y="-4079875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8" name="Oval 127">
                <a:extLst>
                  <a:ext uri="{FF2B5EF4-FFF2-40B4-BE49-F238E27FC236}">
                    <a16:creationId xmlns:a16="http://schemas.microsoft.com/office/drawing/2014/main" id="{548D13DE-AD6B-4CA4-8A0F-600D39655D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57913" y="-4435475"/>
                <a:ext cx="263525" cy="261938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69" name="Oval 128">
                <a:extLst>
                  <a:ext uri="{FF2B5EF4-FFF2-40B4-BE49-F238E27FC236}">
                    <a16:creationId xmlns:a16="http://schemas.microsoft.com/office/drawing/2014/main" id="{B5B9CF09-2E59-4E16-9437-762B712ECE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24338" y="-4303713"/>
                <a:ext cx="263525" cy="261938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0" name="Oval 129">
                <a:extLst>
                  <a:ext uri="{FF2B5EF4-FFF2-40B4-BE49-F238E27FC236}">
                    <a16:creationId xmlns:a16="http://schemas.microsoft.com/office/drawing/2014/main" id="{D936FCA2-3126-4633-8FE3-55B50F9B39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4151" y="-3070225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1" name="Oval 130">
                <a:extLst>
                  <a:ext uri="{FF2B5EF4-FFF2-40B4-BE49-F238E27FC236}">
                    <a16:creationId xmlns:a16="http://schemas.microsoft.com/office/drawing/2014/main" id="{DD49E825-7CAB-483E-BCE3-FF60DC3796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9151" y="-2938463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2" name="Oval 131">
                <a:extLst>
                  <a:ext uri="{FF2B5EF4-FFF2-40B4-BE49-F238E27FC236}">
                    <a16:creationId xmlns:a16="http://schemas.microsoft.com/office/drawing/2014/main" id="{D83440F4-BB05-44A8-972C-89C95DAEEB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89051" y="3916363"/>
                <a:ext cx="261938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3" name="Oval 132">
                <a:extLst>
                  <a:ext uri="{FF2B5EF4-FFF2-40B4-BE49-F238E27FC236}">
                    <a16:creationId xmlns:a16="http://schemas.microsoft.com/office/drawing/2014/main" id="{A5E59193-5287-4871-B743-D38171F27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873250" y="5992813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4" name="Oval 133">
                <a:extLst>
                  <a:ext uri="{FF2B5EF4-FFF2-40B4-BE49-F238E27FC236}">
                    <a16:creationId xmlns:a16="http://schemas.microsoft.com/office/drawing/2014/main" id="{978905AA-FF5A-4583-8C0D-0BCAA6B801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873250" y="2101850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5" name="Oval 134">
                <a:extLst>
                  <a:ext uri="{FF2B5EF4-FFF2-40B4-BE49-F238E27FC236}">
                    <a16:creationId xmlns:a16="http://schemas.microsoft.com/office/drawing/2014/main" id="{95A2A621-998A-4D0A-9DE2-309CE14D48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960562" y="517525"/>
                <a:ext cx="263525" cy="263525"/>
              </a:xfrm>
              <a:prstGeom prst="ellipse">
                <a:avLst/>
              </a:prstGeom>
              <a:solidFill>
                <a:srgbClr val="657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6" name="Freeform 136">
                <a:extLst>
                  <a:ext uri="{FF2B5EF4-FFF2-40B4-BE49-F238E27FC236}">
                    <a16:creationId xmlns:a16="http://schemas.microsoft.com/office/drawing/2014/main" id="{20A33825-33FE-4A6F-84E1-2608FDA23D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91251" y="1604963"/>
                <a:ext cx="2657475" cy="2659063"/>
              </a:xfrm>
              <a:custGeom>
                <a:avLst/>
                <a:gdLst>
                  <a:gd name="T0" fmla="*/ 1744 w 3488"/>
                  <a:gd name="T1" fmla="*/ 217 h 3488"/>
                  <a:gd name="T2" fmla="*/ 217 w 3488"/>
                  <a:gd name="T3" fmla="*/ 1744 h 3488"/>
                  <a:gd name="T4" fmla="*/ 1744 w 3488"/>
                  <a:gd name="T5" fmla="*/ 3272 h 3488"/>
                  <a:gd name="T6" fmla="*/ 3272 w 3488"/>
                  <a:gd name="T7" fmla="*/ 1744 h 3488"/>
                  <a:gd name="T8" fmla="*/ 1744 w 3488"/>
                  <a:gd name="T9" fmla="*/ 217 h 3488"/>
                  <a:gd name="T10" fmla="*/ 1744 w 3488"/>
                  <a:gd name="T11" fmla="*/ 3488 h 3488"/>
                  <a:gd name="T12" fmla="*/ 0 w 3488"/>
                  <a:gd name="T13" fmla="*/ 1744 h 3488"/>
                  <a:gd name="T14" fmla="*/ 1744 w 3488"/>
                  <a:gd name="T15" fmla="*/ 0 h 3488"/>
                  <a:gd name="T16" fmla="*/ 3488 w 3488"/>
                  <a:gd name="T17" fmla="*/ 1744 h 3488"/>
                  <a:gd name="T18" fmla="*/ 1744 w 3488"/>
                  <a:gd name="T19" fmla="*/ 3488 h 3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88" h="3488">
                    <a:moveTo>
                      <a:pt x="1744" y="217"/>
                    </a:moveTo>
                    <a:cubicBezTo>
                      <a:pt x="902" y="217"/>
                      <a:pt x="217" y="902"/>
                      <a:pt x="217" y="1744"/>
                    </a:cubicBezTo>
                    <a:cubicBezTo>
                      <a:pt x="217" y="2586"/>
                      <a:pt x="902" y="3272"/>
                      <a:pt x="1744" y="3272"/>
                    </a:cubicBezTo>
                    <a:cubicBezTo>
                      <a:pt x="2587" y="3272"/>
                      <a:pt x="3272" y="2586"/>
                      <a:pt x="3272" y="1744"/>
                    </a:cubicBezTo>
                    <a:cubicBezTo>
                      <a:pt x="3272" y="902"/>
                      <a:pt x="2587" y="217"/>
                      <a:pt x="1744" y="217"/>
                    </a:cubicBezTo>
                    <a:close/>
                    <a:moveTo>
                      <a:pt x="1744" y="3488"/>
                    </a:moveTo>
                    <a:cubicBezTo>
                      <a:pt x="783" y="3488"/>
                      <a:pt x="0" y="2706"/>
                      <a:pt x="0" y="1744"/>
                    </a:cubicBezTo>
                    <a:cubicBezTo>
                      <a:pt x="0" y="783"/>
                      <a:pt x="783" y="0"/>
                      <a:pt x="1744" y="0"/>
                    </a:cubicBezTo>
                    <a:cubicBezTo>
                      <a:pt x="2706" y="0"/>
                      <a:pt x="3488" y="783"/>
                      <a:pt x="3488" y="1744"/>
                    </a:cubicBezTo>
                    <a:cubicBezTo>
                      <a:pt x="3488" y="2706"/>
                      <a:pt x="2706" y="3488"/>
                      <a:pt x="1744" y="3488"/>
                    </a:cubicBezTo>
                  </a:path>
                </a:pathLst>
              </a:custGeom>
              <a:solidFill>
                <a:srgbClr val="4472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7" name="Freeform 138">
                <a:extLst>
                  <a:ext uri="{FF2B5EF4-FFF2-40B4-BE49-F238E27FC236}">
                    <a16:creationId xmlns:a16="http://schemas.microsoft.com/office/drawing/2014/main" id="{181F68EF-1CFB-4D4C-9144-6C2BE8C177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9388" y="1822450"/>
                <a:ext cx="1528763" cy="1528763"/>
              </a:xfrm>
              <a:custGeom>
                <a:avLst/>
                <a:gdLst>
                  <a:gd name="T0" fmla="*/ 1003 w 2007"/>
                  <a:gd name="T1" fmla="*/ 117 h 2007"/>
                  <a:gd name="T2" fmla="*/ 117 w 2007"/>
                  <a:gd name="T3" fmla="*/ 1004 h 2007"/>
                  <a:gd name="T4" fmla="*/ 1003 w 2007"/>
                  <a:gd name="T5" fmla="*/ 1891 h 2007"/>
                  <a:gd name="T6" fmla="*/ 1890 w 2007"/>
                  <a:gd name="T7" fmla="*/ 1004 h 2007"/>
                  <a:gd name="T8" fmla="*/ 1003 w 2007"/>
                  <a:gd name="T9" fmla="*/ 117 h 2007"/>
                  <a:gd name="T10" fmla="*/ 1003 w 2007"/>
                  <a:gd name="T11" fmla="*/ 2007 h 2007"/>
                  <a:gd name="T12" fmla="*/ 0 w 2007"/>
                  <a:gd name="T13" fmla="*/ 1004 h 2007"/>
                  <a:gd name="T14" fmla="*/ 1003 w 2007"/>
                  <a:gd name="T15" fmla="*/ 0 h 2007"/>
                  <a:gd name="T16" fmla="*/ 2007 w 2007"/>
                  <a:gd name="T17" fmla="*/ 1004 h 2007"/>
                  <a:gd name="T18" fmla="*/ 1003 w 2007"/>
                  <a:gd name="T19" fmla="*/ 2007 h 2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07" h="2007">
                    <a:moveTo>
                      <a:pt x="1003" y="117"/>
                    </a:moveTo>
                    <a:cubicBezTo>
                      <a:pt x="514" y="117"/>
                      <a:pt x="117" y="515"/>
                      <a:pt x="117" y="1004"/>
                    </a:cubicBezTo>
                    <a:cubicBezTo>
                      <a:pt x="117" y="1493"/>
                      <a:pt x="514" y="1891"/>
                      <a:pt x="1003" y="1891"/>
                    </a:cubicBezTo>
                    <a:cubicBezTo>
                      <a:pt x="1492" y="1891"/>
                      <a:pt x="1890" y="1493"/>
                      <a:pt x="1890" y="1004"/>
                    </a:cubicBezTo>
                    <a:cubicBezTo>
                      <a:pt x="1890" y="515"/>
                      <a:pt x="1492" y="117"/>
                      <a:pt x="1003" y="117"/>
                    </a:cubicBezTo>
                    <a:close/>
                    <a:moveTo>
                      <a:pt x="1003" y="2007"/>
                    </a:moveTo>
                    <a:cubicBezTo>
                      <a:pt x="450" y="2007"/>
                      <a:pt x="0" y="1557"/>
                      <a:pt x="0" y="1004"/>
                    </a:cubicBezTo>
                    <a:cubicBezTo>
                      <a:pt x="0" y="450"/>
                      <a:pt x="450" y="0"/>
                      <a:pt x="1003" y="0"/>
                    </a:cubicBezTo>
                    <a:cubicBezTo>
                      <a:pt x="1557" y="0"/>
                      <a:pt x="2007" y="450"/>
                      <a:pt x="2007" y="1004"/>
                    </a:cubicBezTo>
                    <a:cubicBezTo>
                      <a:pt x="2007" y="1557"/>
                      <a:pt x="1557" y="2007"/>
                      <a:pt x="1003" y="2007"/>
                    </a:cubicBezTo>
                    <a:close/>
                  </a:path>
                </a:pathLst>
              </a:custGeom>
              <a:solidFill>
                <a:srgbClr val="5B9B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8" name="Freeform 140">
                <a:extLst>
                  <a:ext uri="{FF2B5EF4-FFF2-40B4-BE49-F238E27FC236}">
                    <a16:creationId xmlns:a16="http://schemas.microsoft.com/office/drawing/2014/main" id="{7EE0B6A8-5F5D-4AF8-B6E4-B723899047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10013" y="-346075"/>
                <a:ext cx="1687513" cy="1689100"/>
              </a:xfrm>
              <a:custGeom>
                <a:avLst/>
                <a:gdLst>
                  <a:gd name="T0" fmla="*/ 1108 w 2216"/>
                  <a:gd name="T1" fmla="*/ 117 h 2216"/>
                  <a:gd name="T2" fmla="*/ 117 w 2216"/>
                  <a:gd name="T3" fmla="*/ 1108 h 2216"/>
                  <a:gd name="T4" fmla="*/ 1108 w 2216"/>
                  <a:gd name="T5" fmla="*/ 2099 h 2216"/>
                  <a:gd name="T6" fmla="*/ 2100 w 2216"/>
                  <a:gd name="T7" fmla="*/ 1108 h 2216"/>
                  <a:gd name="T8" fmla="*/ 1108 w 2216"/>
                  <a:gd name="T9" fmla="*/ 117 h 2216"/>
                  <a:gd name="T10" fmla="*/ 1108 w 2216"/>
                  <a:gd name="T11" fmla="*/ 2216 h 2216"/>
                  <a:gd name="T12" fmla="*/ 0 w 2216"/>
                  <a:gd name="T13" fmla="*/ 1108 h 2216"/>
                  <a:gd name="T14" fmla="*/ 1108 w 2216"/>
                  <a:gd name="T15" fmla="*/ 0 h 2216"/>
                  <a:gd name="T16" fmla="*/ 2216 w 2216"/>
                  <a:gd name="T17" fmla="*/ 1108 h 2216"/>
                  <a:gd name="T18" fmla="*/ 1108 w 2216"/>
                  <a:gd name="T19" fmla="*/ 2216 h 2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6" h="2216">
                    <a:moveTo>
                      <a:pt x="1108" y="117"/>
                    </a:moveTo>
                    <a:cubicBezTo>
                      <a:pt x="562" y="117"/>
                      <a:pt x="117" y="561"/>
                      <a:pt x="117" y="1108"/>
                    </a:cubicBezTo>
                    <a:cubicBezTo>
                      <a:pt x="117" y="1655"/>
                      <a:pt x="562" y="2099"/>
                      <a:pt x="1108" y="2099"/>
                    </a:cubicBezTo>
                    <a:cubicBezTo>
                      <a:pt x="1655" y="2099"/>
                      <a:pt x="2100" y="1655"/>
                      <a:pt x="2100" y="1108"/>
                    </a:cubicBezTo>
                    <a:cubicBezTo>
                      <a:pt x="2100" y="561"/>
                      <a:pt x="1655" y="117"/>
                      <a:pt x="1108" y="117"/>
                    </a:cubicBezTo>
                    <a:close/>
                    <a:moveTo>
                      <a:pt x="1108" y="2216"/>
                    </a:moveTo>
                    <a:cubicBezTo>
                      <a:pt x="497" y="2216"/>
                      <a:pt x="0" y="1719"/>
                      <a:pt x="0" y="1108"/>
                    </a:cubicBezTo>
                    <a:cubicBezTo>
                      <a:pt x="0" y="497"/>
                      <a:pt x="497" y="0"/>
                      <a:pt x="1108" y="0"/>
                    </a:cubicBezTo>
                    <a:cubicBezTo>
                      <a:pt x="1719" y="0"/>
                      <a:pt x="2216" y="497"/>
                      <a:pt x="2216" y="1108"/>
                    </a:cubicBezTo>
                    <a:cubicBezTo>
                      <a:pt x="2216" y="1719"/>
                      <a:pt x="1719" y="2216"/>
                      <a:pt x="1108" y="2216"/>
                    </a:cubicBezTo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79" name="Freeform 142">
                <a:extLst>
                  <a:ext uri="{FF2B5EF4-FFF2-40B4-BE49-F238E27FC236}">
                    <a16:creationId xmlns:a16="http://schemas.microsoft.com/office/drawing/2014/main" id="{7FAF5640-225B-4DC5-861E-C5A0A063FB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5188" y="-1022350"/>
                <a:ext cx="2028825" cy="2027238"/>
              </a:xfrm>
              <a:custGeom>
                <a:avLst/>
                <a:gdLst>
                  <a:gd name="T0" fmla="*/ 1330 w 2661"/>
                  <a:gd name="T1" fmla="*/ 184 h 2661"/>
                  <a:gd name="T2" fmla="*/ 183 w 2661"/>
                  <a:gd name="T3" fmla="*/ 1331 h 2661"/>
                  <a:gd name="T4" fmla="*/ 1330 w 2661"/>
                  <a:gd name="T5" fmla="*/ 2478 h 2661"/>
                  <a:gd name="T6" fmla="*/ 2478 w 2661"/>
                  <a:gd name="T7" fmla="*/ 1331 h 2661"/>
                  <a:gd name="T8" fmla="*/ 1330 w 2661"/>
                  <a:gd name="T9" fmla="*/ 184 h 2661"/>
                  <a:gd name="T10" fmla="*/ 1330 w 2661"/>
                  <a:gd name="T11" fmla="*/ 2661 h 2661"/>
                  <a:gd name="T12" fmla="*/ 0 w 2661"/>
                  <a:gd name="T13" fmla="*/ 1331 h 2661"/>
                  <a:gd name="T14" fmla="*/ 1330 w 2661"/>
                  <a:gd name="T15" fmla="*/ 0 h 2661"/>
                  <a:gd name="T16" fmla="*/ 2661 w 2661"/>
                  <a:gd name="T17" fmla="*/ 1331 h 2661"/>
                  <a:gd name="T18" fmla="*/ 1330 w 2661"/>
                  <a:gd name="T19" fmla="*/ 2661 h 2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61" h="2661">
                    <a:moveTo>
                      <a:pt x="1330" y="184"/>
                    </a:moveTo>
                    <a:cubicBezTo>
                      <a:pt x="698" y="184"/>
                      <a:pt x="183" y="698"/>
                      <a:pt x="183" y="1331"/>
                    </a:cubicBezTo>
                    <a:cubicBezTo>
                      <a:pt x="183" y="1963"/>
                      <a:pt x="698" y="2478"/>
                      <a:pt x="1330" y="2478"/>
                    </a:cubicBezTo>
                    <a:cubicBezTo>
                      <a:pt x="1963" y="2478"/>
                      <a:pt x="2478" y="1963"/>
                      <a:pt x="2478" y="1331"/>
                    </a:cubicBezTo>
                    <a:cubicBezTo>
                      <a:pt x="2478" y="698"/>
                      <a:pt x="1963" y="184"/>
                      <a:pt x="1330" y="184"/>
                    </a:cubicBezTo>
                    <a:close/>
                    <a:moveTo>
                      <a:pt x="1330" y="2661"/>
                    </a:moveTo>
                    <a:cubicBezTo>
                      <a:pt x="597" y="2661"/>
                      <a:pt x="0" y="2064"/>
                      <a:pt x="0" y="1331"/>
                    </a:cubicBezTo>
                    <a:cubicBezTo>
                      <a:pt x="0" y="597"/>
                      <a:pt x="597" y="0"/>
                      <a:pt x="1330" y="0"/>
                    </a:cubicBezTo>
                    <a:cubicBezTo>
                      <a:pt x="2064" y="0"/>
                      <a:pt x="2661" y="597"/>
                      <a:pt x="2661" y="1331"/>
                    </a:cubicBezTo>
                    <a:cubicBezTo>
                      <a:pt x="2661" y="2064"/>
                      <a:pt x="2064" y="2661"/>
                      <a:pt x="1330" y="2661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0" name="Freeform 146">
                <a:extLst>
                  <a:ext uri="{FF2B5EF4-FFF2-40B4-BE49-F238E27FC236}">
                    <a16:creationId xmlns:a16="http://schemas.microsoft.com/office/drawing/2014/main" id="{EBCD5738-5D20-4B2C-83ED-A6FC32EE80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49488" y="4113213"/>
                <a:ext cx="1649413" cy="1649413"/>
              </a:xfrm>
              <a:custGeom>
                <a:avLst/>
                <a:gdLst>
                  <a:gd name="T0" fmla="*/ 1083 w 2165"/>
                  <a:gd name="T1" fmla="*/ 117 h 2165"/>
                  <a:gd name="T2" fmla="*/ 117 w 2165"/>
                  <a:gd name="T3" fmla="*/ 1082 h 2165"/>
                  <a:gd name="T4" fmla="*/ 1083 w 2165"/>
                  <a:gd name="T5" fmla="*/ 2048 h 2165"/>
                  <a:gd name="T6" fmla="*/ 2048 w 2165"/>
                  <a:gd name="T7" fmla="*/ 1082 h 2165"/>
                  <a:gd name="T8" fmla="*/ 1083 w 2165"/>
                  <a:gd name="T9" fmla="*/ 117 h 2165"/>
                  <a:gd name="T10" fmla="*/ 1083 w 2165"/>
                  <a:gd name="T11" fmla="*/ 2165 h 2165"/>
                  <a:gd name="T12" fmla="*/ 0 w 2165"/>
                  <a:gd name="T13" fmla="*/ 1082 h 2165"/>
                  <a:gd name="T14" fmla="*/ 1083 w 2165"/>
                  <a:gd name="T15" fmla="*/ 0 h 2165"/>
                  <a:gd name="T16" fmla="*/ 2165 w 2165"/>
                  <a:gd name="T17" fmla="*/ 1082 h 2165"/>
                  <a:gd name="T18" fmla="*/ 1083 w 2165"/>
                  <a:gd name="T19" fmla="*/ 2165 h 2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5" h="2165">
                    <a:moveTo>
                      <a:pt x="1083" y="117"/>
                    </a:moveTo>
                    <a:cubicBezTo>
                      <a:pt x="550" y="117"/>
                      <a:pt x="117" y="550"/>
                      <a:pt x="117" y="1082"/>
                    </a:cubicBezTo>
                    <a:cubicBezTo>
                      <a:pt x="117" y="1615"/>
                      <a:pt x="550" y="2048"/>
                      <a:pt x="1083" y="2048"/>
                    </a:cubicBezTo>
                    <a:cubicBezTo>
                      <a:pt x="1615" y="2048"/>
                      <a:pt x="2048" y="1615"/>
                      <a:pt x="2048" y="1082"/>
                    </a:cubicBezTo>
                    <a:cubicBezTo>
                      <a:pt x="2048" y="550"/>
                      <a:pt x="1615" y="117"/>
                      <a:pt x="1083" y="117"/>
                    </a:cubicBezTo>
                    <a:close/>
                    <a:moveTo>
                      <a:pt x="1083" y="2165"/>
                    </a:moveTo>
                    <a:cubicBezTo>
                      <a:pt x="486" y="2165"/>
                      <a:pt x="0" y="1679"/>
                      <a:pt x="0" y="1082"/>
                    </a:cubicBezTo>
                    <a:cubicBezTo>
                      <a:pt x="0" y="485"/>
                      <a:pt x="486" y="0"/>
                      <a:pt x="1083" y="0"/>
                    </a:cubicBezTo>
                    <a:cubicBezTo>
                      <a:pt x="1680" y="0"/>
                      <a:pt x="2165" y="485"/>
                      <a:pt x="2165" y="1082"/>
                    </a:cubicBezTo>
                    <a:cubicBezTo>
                      <a:pt x="2165" y="1679"/>
                      <a:pt x="1680" y="2165"/>
                      <a:pt x="1083" y="2165"/>
                    </a:cubicBezTo>
                    <a:close/>
                  </a:path>
                </a:pathLst>
              </a:custGeom>
              <a:solidFill>
                <a:srgbClr val="4472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1" name="Freeform 148">
                <a:extLst>
                  <a:ext uri="{FF2B5EF4-FFF2-40B4-BE49-F238E27FC236}">
                    <a16:creationId xmlns:a16="http://schemas.microsoft.com/office/drawing/2014/main" id="{9FE3467D-D27C-44EA-9EBD-1C5FAECC11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7863" y="5748338"/>
                <a:ext cx="2324100" cy="2324100"/>
              </a:xfrm>
              <a:custGeom>
                <a:avLst/>
                <a:gdLst>
                  <a:gd name="T0" fmla="*/ 1525 w 3050"/>
                  <a:gd name="T1" fmla="*/ 200 h 3050"/>
                  <a:gd name="T2" fmla="*/ 200 w 3050"/>
                  <a:gd name="T3" fmla="*/ 1525 h 3050"/>
                  <a:gd name="T4" fmla="*/ 1525 w 3050"/>
                  <a:gd name="T5" fmla="*/ 2850 h 3050"/>
                  <a:gd name="T6" fmla="*/ 2850 w 3050"/>
                  <a:gd name="T7" fmla="*/ 1525 h 3050"/>
                  <a:gd name="T8" fmla="*/ 1525 w 3050"/>
                  <a:gd name="T9" fmla="*/ 200 h 3050"/>
                  <a:gd name="T10" fmla="*/ 1525 w 3050"/>
                  <a:gd name="T11" fmla="*/ 3050 h 3050"/>
                  <a:gd name="T12" fmla="*/ 0 w 3050"/>
                  <a:gd name="T13" fmla="*/ 1525 h 3050"/>
                  <a:gd name="T14" fmla="*/ 1525 w 3050"/>
                  <a:gd name="T15" fmla="*/ 0 h 3050"/>
                  <a:gd name="T16" fmla="*/ 3050 w 3050"/>
                  <a:gd name="T17" fmla="*/ 1525 h 3050"/>
                  <a:gd name="T18" fmla="*/ 1525 w 3050"/>
                  <a:gd name="T19" fmla="*/ 3050 h 3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50" h="3050">
                    <a:moveTo>
                      <a:pt x="1525" y="200"/>
                    </a:moveTo>
                    <a:cubicBezTo>
                      <a:pt x="795" y="200"/>
                      <a:pt x="200" y="795"/>
                      <a:pt x="200" y="1525"/>
                    </a:cubicBezTo>
                    <a:cubicBezTo>
                      <a:pt x="200" y="2256"/>
                      <a:pt x="795" y="2850"/>
                      <a:pt x="1525" y="2850"/>
                    </a:cubicBezTo>
                    <a:cubicBezTo>
                      <a:pt x="2256" y="2850"/>
                      <a:pt x="2850" y="2256"/>
                      <a:pt x="2850" y="1525"/>
                    </a:cubicBezTo>
                    <a:cubicBezTo>
                      <a:pt x="2850" y="795"/>
                      <a:pt x="2256" y="200"/>
                      <a:pt x="1525" y="200"/>
                    </a:cubicBezTo>
                    <a:close/>
                    <a:moveTo>
                      <a:pt x="1525" y="3050"/>
                    </a:moveTo>
                    <a:cubicBezTo>
                      <a:pt x="685" y="3050"/>
                      <a:pt x="0" y="2366"/>
                      <a:pt x="0" y="1525"/>
                    </a:cubicBezTo>
                    <a:cubicBezTo>
                      <a:pt x="0" y="684"/>
                      <a:pt x="685" y="0"/>
                      <a:pt x="1525" y="0"/>
                    </a:cubicBezTo>
                    <a:cubicBezTo>
                      <a:pt x="2366" y="0"/>
                      <a:pt x="3050" y="684"/>
                      <a:pt x="3050" y="1525"/>
                    </a:cubicBezTo>
                    <a:cubicBezTo>
                      <a:pt x="3050" y="2366"/>
                      <a:pt x="2366" y="3050"/>
                      <a:pt x="1525" y="3050"/>
                    </a:cubicBezTo>
                    <a:close/>
                  </a:path>
                </a:pathLst>
              </a:custGeom>
              <a:solidFill>
                <a:srgbClr val="5B9B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2" name="Freeform 150">
                <a:extLst>
                  <a:ext uri="{FF2B5EF4-FFF2-40B4-BE49-F238E27FC236}">
                    <a16:creationId xmlns:a16="http://schemas.microsoft.com/office/drawing/2014/main" id="{0531CDD3-745C-4169-9B79-F7BC6A1937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93201" y="3321050"/>
                <a:ext cx="1684338" cy="1684338"/>
              </a:xfrm>
              <a:custGeom>
                <a:avLst/>
                <a:gdLst>
                  <a:gd name="T0" fmla="*/ 1105 w 2211"/>
                  <a:gd name="T1" fmla="*/ 116 h 2210"/>
                  <a:gd name="T2" fmla="*/ 117 w 2211"/>
                  <a:gd name="T3" fmla="*/ 1105 h 2210"/>
                  <a:gd name="T4" fmla="*/ 1105 w 2211"/>
                  <a:gd name="T5" fmla="*/ 2093 h 2210"/>
                  <a:gd name="T6" fmla="*/ 2094 w 2211"/>
                  <a:gd name="T7" fmla="*/ 1105 h 2210"/>
                  <a:gd name="T8" fmla="*/ 1105 w 2211"/>
                  <a:gd name="T9" fmla="*/ 116 h 2210"/>
                  <a:gd name="T10" fmla="*/ 1105 w 2211"/>
                  <a:gd name="T11" fmla="*/ 2210 h 2210"/>
                  <a:gd name="T12" fmla="*/ 0 w 2211"/>
                  <a:gd name="T13" fmla="*/ 1105 h 2210"/>
                  <a:gd name="T14" fmla="*/ 1105 w 2211"/>
                  <a:gd name="T15" fmla="*/ 0 h 2210"/>
                  <a:gd name="T16" fmla="*/ 2211 w 2211"/>
                  <a:gd name="T17" fmla="*/ 1105 h 2210"/>
                  <a:gd name="T18" fmla="*/ 1105 w 2211"/>
                  <a:gd name="T19" fmla="*/ 2210 h 2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11" h="2210">
                    <a:moveTo>
                      <a:pt x="1105" y="116"/>
                    </a:moveTo>
                    <a:cubicBezTo>
                      <a:pt x="560" y="116"/>
                      <a:pt x="117" y="560"/>
                      <a:pt x="117" y="1105"/>
                    </a:cubicBezTo>
                    <a:cubicBezTo>
                      <a:pt x="117" y="1650"/>
                      <a:pt x="560" y="2093"/>
                      <a:pt x="1105" y="2093"/>
                    </a:cubicBezTo>
                    <a:cubicBezTo>
                      <a:pt x="1650" y="2093"/>
                      <a:pt x="2094" y="1650"/>
                      <a:pt x="2094" y="1105"/>
                    </a:cubicBezTo>
                    <a:cubicBezTo>
                      <a:pt x="2094" y="560"/>
                      <a:pt x="1650" y="116"/>
                      <a:pt x="1105" y="116"/>
                    </a:cubicBezTo>
                    <a:close/>
                    <a:moveTo>
                      <a:pt x="1105" y="2210"/>
                    </a:moveTo>
                    <a:cubicBezTo>
                      <a:pt x="496" y="2210"/>
                      <a:pt x="0" y="1714"/>
                      <a:pt x="0" y="1105"/>
                    </a:cubicBezTo>
                    <a:cubicBezTo>
                      <a:pt x="0" y="495"/>
                      <a:pt x="496" y="0"/>
                      <a:pt x="1105" y="0"/>
                    </a:cubicBezTo>
                    <a:cubicBezTo>
                      <a:pt x="1715" y="0"/>
                      <a:pt x="2211" y="495"/>
                      <a:pt x="2211" y="1105"/>
                    </a:cubicBezTo>
                    <a:cubicBezTo>
                      <a:pt x="2211" y="1714"/>
                      <a:pt x="1715" y="2210"/>
                      <a:pt x="1105" y="2210"/>
                    </a:cubicBezTo>
                    <a:close/>
                  </a:path>
                </a:pathLst>
              </a:cu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3" name="Freeform 152">
                <a:extLst>
                  <a:ext uri="{FF2B5EF4-FFF2-40B4-BE49-F238E27FC236}">
                    <a16:creationId xmlns:a16="http://schemas.microsoft.com/office/drawing/2014/main" id="{A453ED69-158E-49D3-93FE-830A1C0C6A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25113" y="757238"/>
                <a:ext cx="2065338" cy="2066925"/>
              </a:xfrm>
              <a:custGeom>
                <a:avLst/>
                <a:gdLst>
                  <a:gd name="T0" fmla="*/ 1356 w 2712"/>
                  <a:gd name="T1" fmla="*/ 184 h 2712"/>
                  <a:gd name="T2" fmla="*/ 183 w 2712"/>
                  <a:gd name="T3" fmla="*/ 1356 h 2712"/>
                  <a:gd name="T4" fmla="*/ 1356 w 2712"/>
                  <a:gd name="T5" fmla="*/ 2529 h 2712"/>
                  <a:gd name="T6" fmla="*/ 2528 w 2712"/>
                  <a:gd name="T7" fmla="*/ 1356 h 2712"/>
                  <a:gd name="T8" fmla="*/ 1356 w 2712"/>
                  <a:gd name="T9" fmla="*/ 184 h 2712"/>
                  <a:gd name="T10" fmla="*/ 1356 w 2712"/>
                  <a:gd name="T11" fmla="*/ 2712 h 2712"/>
                  <a:gd name="T12" fmla="*/ 0 w 2712"/>
                  <a:gd name="T13" fmla="*/ 1356 h 2712"/>
                  <a:gd name="T14" fmla="*/ 1356 w 2712"/>
                  <a:gd name="T15" fmla="*/ 0 h 2712"/>
                  <a:gd name="T16" fmla="*/ 2712 w 2712"/>
                  <a:gd name="T17" fmla="*/ 1356 h 2712"/>
                  <a:gd name="T18" fmla="*/ 1356 w 2712"/>
                  <a:gd name="T19" fmla="*/ 2712 h 2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12" h="2712">
                    <a:moveTo>
                      <a:pt x="1356" y="184"/>
                    </a:moveTo>
                    <a:cubicBezTo>
                      <a:pt x="709" y="184"/>
                      <a:pt x="183" y="710"/>
                      <a:pt x="183" y="1356"/>
                    </a:cubicBezTo>
                    <a:cubicBezTo>
                      <a:pt x="183" y="2003"/>
                      <a:pt x="709" y="2529"/>
                      <a:pt x="1356" y="2529"/>
                    </a:cubicBezTo>
                    <a:cubicBezTo>
                      <a:pt x="2002" y="2529"/>
                      <a:pt x="2528" y="2003"/>
                      <a:pt x="2528" y="1356"/>
                    </a:cubicBezTo>
                    <a:cubicBezTo>
                      <a:pt x="2528" y="710"/>
                      <a:pt x="2002" y="184"/>
                      <a:pt x="1356" y="184"/>
                    </a:cubicBezTo>
                    <a:close/>
                    <a:moveTo>
                      <a:pt x="1356" y="2712"/>
                    </a:moveTo>
                    <a:cubicBezTo>
                      <a:pt x="608" y="2712"/>
                      <a:pt x="0" y="2104"/>
                      <a:pt x="0" y="1356"/>
                    </a:cubicBezTo>
                    <a:cubicBezTo>
                      <a:pt x="0" y="609"/>
                      <a:pt x="608" y="0"/>
                      <a:pt x="1356" y="0"/>
                    </a:cubicBezTo>
                    <a:cubicBezTo>
                      <a:pt x="2103" y="0"/>
                      <a:pt x="2712" y="609"/>
                      <a:pt x="2712" y="1356"/>
                    </a:cubicBezTo>
                    <a:cubicBezTo>
                      <a:pt x="2712" y="2104"/>
                      <a:pt x="2103" y="2712"/>
                      <a:pt x="1356" y="2712"/>
                    </a:cubicBez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4" name="Freeform 154">
                <a:extLst>
                  <a:ext uri="{FF2B5EF4-FFF2-40B4-BE49-F238E27FC236}">
                    <a16:creationId xmlns:a16="http://schemas.microsoft.com/office/drawing/2014/main" id="{5E4592B8-21A7-4EA2-8E8E-89DCB95398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05963" y="-2522538"/>
                <a:ext cx="1776413" cy="1776413"/>
              </a:xfrm>
              <a:custGeom>
                <a:avLst/>
                <a:gdLst>
                  <a:gd name="T0" fmla="*/ 1166 w 2331"/>
                  <a:gd name="T1" fmla="*/ 150 h 2331"/>
                  <a:gd name="T2" fmla="*/ 150 w 2331"/>
                  <a:gd name="T3" fmla="*/ 1165 h 2331"/>
                  <a:gd name="T4" fmla="*/ 1166 w 2331"/>
                  <a:gd name="T5" fmla="*/ 2181 h 2331"/>
                  <a:gd name="T6" fmla="*/ 2181 w 2331"/>
                  <a:gd name="T7" fmla="*/ 1165 h 2331"/>
                  <a:gd name="T8" fmla="*/ 1166 w 2331"/>
                  <a:gd name="T9" fmla="*/ 150 h 2331"/>
                  <a:gd name="T10" fmla="*/ 1166 w 2331"/>
                  <a:gd name="T11" fmla="*/ 2331 h 2331"/>
                  <a:gd name="T12" fmla="*/ 0 w 2331"/>
                  <a:gd name="T13" fmla="*/ 1165 h 2331"/>
                  <a:gd name="T14" fmla="*/ 1166 w 2331"/>
                  <a:gd name="T15" fmla="*/ 0 h 2331"/>
                  <a:gd name="T16" fmla="*/ 2331 w 2331"/>
                  <a:gd name="T17" fmla="*/ 1165 h 2331"/>
                  <a:gd name="T18" fmla="*/ 1166 w 2331"/>
                  <a:gd name="T19" fmla="*/ 2331 h 2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31" h="2331">
                    <a:moveTo>
                      <a:pt x="1166" y="150"/>
                    </a:moveTo>
                    <a:cubicBezTo>
                      <a:pt x="606" y="150"/>
                      <a:pt x="150" y="605"/>
                      <a:pt x="150" y="1165"/>
                    </a:cubicBezTo>
                    <a:cubicBezTo>
                      <a:pt x="150" y="1725"/>
                      <a:pt x="606" y="2181"/>
                      <a:pt x="1166" y="2181"/>
                    </a:cubicBezTo>
                    <a:cubicBezTo>
                      <a:pt x="1726" y="2181"/>
                      <a:pt x="2181" y="1725"/>
                      <a:pt x="2181" y="1165"/>
                    </a:cubicBezTo>
                    <a:cubicBezTo>
                      <a:pt x="2181" y="605"/>
                      <a:pt x="1726" y="150"/>
                      <a:pt x="1166" y="150"/>
                    </a:cubicBezTo>
                    <a:close/>
                    <a:moveTo>
                      <a:pt x="1166" y="2331"/>
                    </a:moveTo>
                    <a:cubicBezTo>
                      <a:pt x="523" y="2331"/>
                      <a:pt x="0" y="1808"/>
                      <a:pt x="0" y="1165"/>
                    </a:cubicBezTo>
                    <a:cubicBezTo>
                      <a:pt x="0" y="523"/>
                      <a:pt x="523" y="0"/>
                      <a:pt x="1166" y="0"/>
                    </a:cubicBezTo>
                    <a:cubicBezTo>
                      <a:pt x="1808" y="0"/>
                      <a:pt x="2331" y="523"/>
                      <a:pt x="2331" y="1165"/>
                    </a:cubicBezTo>
                    <a:cubicBezTo>
                      <a:pt x="2331" y="1808"/>
                      <a:pt x="1808" y="2331"/>
                      <a:pt x="1166" y="2331"/>
                    </a:cubicBezTo>
                    <a:close/>
                  </a:path>
                </a:pathLst>
              </a:custGeom>
              <a:solidFill>
                <a:srgbClr val="ED7D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5" name="Freeform 156">
                <a:extLst>
                  <a:ext uri="{FF2B5EF4-FFF2-40B4-BE49-F238E27FC236}">
                    <a16:creationId xmlns:a16="http://schemas.microsoft.com/office/drawing/2014/main" id="{620E05E7-4FCB-47B2-A28A-3CF7A20EE7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46576" y="-3306763"/>
                <a:ext cx="2012950" cy="2012950"/>
              </a:xfrm>
              <a:custGeom>
                <a:avLst/>
                <a:gdLst>
                  <a:gd name="T0" fmla="*/ 1321 w 2643"/>
                  <a:gd name="T1" fmla="*/ 183 h 2643"/>
                  <a:gd name="T2" fmla="*/ 183 w 2643"/>
                  <a:gd name="T3" fmla="*/ 1321 h 2643"/>
                  <a:gd name="T4" fmla="*/ 1321 w 2643"/>
                  <a:gd name="T5" fmla="*/ 2460 h 2643"/>
                  <a:gd name="T6" fmla="*/ 2460 w 2643"/>
                  <a:gd name="T7" fmla="*/ 1321 h 2643"/>
                  <a:gd name="T8" fmla="*/ 1321 w 2643"/>
                  <a:gd name="T9" fmla="*/ 183 h 2643"/>
                  <a:gd name="T10" fmla="*/ 1321 w 2643"/>
                  <a:gd name="T11" fmla="*/ 2643 h 2643"/>
                  <a:gd name="T12" fmla="*/ 0 w 2643"/>
                  <a:gd name="T13" fmla="*/ 1321 h 2643"/>
                  <a:gd name="T14" fmla="*/ 1321 w 2643"/>
                  <a:gd name="T15" fmla="*/ 0 h 2643"/>
                  <a:gd name="T16" fmla="*/ 2643 w 2643"/>
                  <a:gd name="T17" fmla="*/ 1321 h 2643"/>
                  <a:gd name="T18" fmla="*/ 1321 w 2643"/>
                  <a:gd name="T19" fmla="*/ 2643 h 2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43" h="2643">
                    <a:moveTo>
                      <a:pt x="1321" y="183"/>
                    </a:moveTo>
                    <a:cubicBezTo>
                      <a:pt x="694" y="183"/>
                      <a:pt x="183" y="694"/>
                      <a:pt x="183" y="1321"/>
                    </a:cubicBezTo>
                    <a:cubicBezTo>
                      <a:pt x="183" y="1949"/>
                      <a:pt x="694" y="2460"/>
                      <a:pt x="1321" y="2460"/>
                    </a:cubicBezTo>
                    <a:cubicBezTo>
                      <a:pt x="1949" y="2460"/>
                      <a:pt x="2460" y="1949"/>
                      <a:pt x="2460" y="1321"/>
                    </a:cubicBezTo>
                    <a:cubicBezTo>
                      <a:pt x="2460" y="694"/>
                      <a:pt x="1949" y="183"/>
                      <a:pt x="1321" y="183"/>
                    </a:cubicBezTo>
                    <a:close/>
                    <a:moveTo>
                      <a:pt x="1321" y="2643"/>
                    </a:moveTo>
                    <a:cubicBezTo>
                      <a:pt x="592" y="2643"/>
                      <a:pt x="0" y="2050"/>
                      <a:pt x="0" y="1321"/>
                    </a:cubicBezTo>
                    <a:cubicBezTo>
                      <a:pt x="0" y="593"/>
                      <a:pt x="592" y="0"/>
                      <a:pt x="1321" y="0"/>
                    </a:cubicBezTo>
                    <a:cubicBezTo>
                      <a:pt x="2050" y="0"/>
                      <a:pt x="2643" y="593"/>
                      <a:pt x="2643" y="1321"/>
                    </a:cubicBezTo>
                    <a:cubicBezTo>
                      <a:pt x="2643" y="2050"/>
                      <a:pt x="2050" y="2643"/>
                      <a:pt x="1321" y="2643"/>
                    </a:cubicBezTo>
                    <a:close/>
                  </a:path>
                </a:pathLst>
              </a:custGeom>
              <a:solidFill>
                <a:srgbClr val="4472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6" name="Freeform 158">
                <a:extLst>
                  <a:ext uri="{FF2B5EF4-FFF2-40B4-BE49-F238E27FC236}">
                    <a16:creationId xmlns:a16="http://schemas.microsoft.com/office/drawing/2014/main" id="{A1BEA60E-270B-4B94-9802-FAFD3416EF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551" y="-1577975"/>
                <a:ext cx="1831975" cy="1831975"/>
              </a:xfrm>
              <a:custGeom>
                <a:avLst/>
                <a:gdLst>
                  <a:gd name="T0" fmla="*/ 1202 w 2405"/>
                  <a:gd name="T1" fmla="*/ 150 h 2405"/>
                  <a:gd name="T2" fmla="*/ 150 w 2405"/>
                  <a:gd name="T3" fmla="*/ 1202 h 2405"/>
                  <a:gd name="T4" fmla="*/ 1202 w 2405"/>
                  <a:gd name="T5" fmla="*/ 2255 h 2405"/>
                  <a:gd name="T6" fmla="*/ 2255 w 2405"/>
                  <a:gd name="T7" fmla="*/ 1202 h 2405"/>
                  <a:gd name="T8" fmla="*/ 1202 w 2405"/>
                  <a:gd name="T9" fmla="*/ 150 h 2405"/>
                  <a:gd name="T10" fmla="*/ 1202 w 2405"/>
                  <a:gd name="T11" fmla="*/ 2405 h 2405"/>
                  <a:gd name="T12" fmla="*/ 0 w 2405"/>
                  <a:gd name="T13" fmla="*/ 1202 h 2405"/>
                  <a:gd name="T14" fmla="*/ 1202 w 2405"/>
                  <a:gd name="T15" fmla="*/ 0 h 2405"/>
                  <a:gd name="T16" fmla="*/ 2405 w 2405"/>
                  <a:gd name="T17" fmla="*/ 1202 h 2405"/>
                  <a:gd name="T18" fmla="*/ 1202 w 2405"/>
                  <a:gd name="T19" fmla="*/ 2405 h 2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05" h="2405">
                    <a:moveTo>
                      <a:pt x="1202" y="150"/>
                    </a:moveTo>
                    <a:cubicBezTo>
                      <a:pt x="622" y="150"/>
                      <a:pt x="150" y="622"/>
                      <a:pt x="150" y="1202"/>
                    </a:cubicBezTo>
                    <a:cubicBezTo>
                      <a:pt x="150" y="1783"/>
                      <a:pt x="622" y="2255"/>
                      <a:pt x="1202" y="2255"/>
                    </a:cubicBezTo>
                    <a:cubicBezTo>
                      <a:pt x="1782" y="2255"/>
                      <a:pt x="2255" y="1783"/>
                      <a:pt x="2255" y="1202"/>
                    </a:cubicBezTo>
                    <a:cubicBezTo>
                      <a:pt x="2255" y="622"/>
                      <a:pt x="1782" y="150"/>
                      <a:pt x="1202" y="150"/>
                    </a:cubicBezTo>
                    <a:close/>
                    <a:moveTo>
                      <a:pt x="1202" y="2405"/>
                    </a:moveTo>
                    <a:cubicBezTo>
                      <a:pt x="539" y="2405"/>
                      <a:pt x="0" y="1865"/>
                      <a:pt x="0" y="1202"/>
                    </a:cubicBezTo>
                    <a:cubicBezTo>
                      <a:pt x="0" y="539"/>
                      <a:pt x="539" y="0"/>
                      <a:pt x="1202" y="0"/>
                    </a:cubicBezTo>
                    <a:cubicBezTo>
                      <a:pt x="1865" y="0"/>
                      <a:pt x="2405" y="539"/>
                      <a:pt x="2405" y="1202"/>
                    </a:cubicBezTo>
                    <a:cubicBezTo>
                      <a:pt x="2405" y="1865"/>
                      <a:pt x="1865" y="2405"/>
                      <a:pt x="1202" y="2405"/>
                    </a:cubicBezTo>
                  </a:path>
                </a:pathLst>
              </a:custGeom>
              <a:solidFill>
                <a:srgbClr val="5B9B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7" name="Freeform 160">
                <a:extLst>
                  <a:ext uri="{FF2B5EF4-FFF2-40B4-BE49-F238E27FC236}">
                    <a16:creationId xmlns:a16="http://schemas.microsoft.com/office/drawing/2014/main" id="{72B3D838-9773-4DAD-8B3B-BE8453CCB2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609725" y="2408238"/>
                <a:ext cx="1936750" cy="1936750"/>
              </a:xfrm>
              <a:custGeom>
                <a:avLst/>
                <a:gdLst>
                  <a:gd name="T0" fmla="*/ 1271 w 2541"/>
                  <a:gd name="T1" fmla="*/ 150 h 2542"/>
                  <a:gd name="T2" fmla="*/ 150 w 2541"/>
                  <a:gd name="T3" fmla="*/ 1271 h 2542"/>
                  <a:gd name="T4" fmla="*/ 1271 w 2541"/>
                  <a:gd name="T5" fmla="*/ 2392 h 2542"/>
                  <a:gd name="T6" fmla="*/ 2391 w 2541"/>
                  <a:gd name="T7" fmla="*/ 1271 h 2542"/>
                  <a:gd name="T8" fmla="*/ 1271 w 2541"/>
                  <a:gd name="T9" fmla="*/ 150 h 2542"/>
                  <a:gd name="T10" fmla="*/ 1271 w 2541"/>
                  <a:gd name="T11" fmla="*/ 2542 h 2542"/>
                  <a:gd name="T12" fmla="*/ 0 w 2541"/>
                  <a:gd name="T13" fmla="*/ 1271 h 2542"/>
                  <a:gd name="T14" fmla="*/ 1271 w 2541"/>
                  <a:gd name="T15" fmla="*/ 0 h 2542"/>
                  <a:gd name="T16" fmla="*/ 2541 w 2541"/>
                  <a:gd name="T17" fmla="*/ 1271 h 2542"/>
                  <a:gd name="T18" fmla="*/ 1271 w 2541"/>
                  <a:gd name="T19" fmla="*/ 2542 h 2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1" h="2542">
                    <a:moveTo>
                      <a:pt x="1271" y="150"/>
                    </a:moveTo>
                    <a:cubicBezTo>
                      <a:pt x="653" y="150"/>
                      <a:pt x="150" y="653"/>
                      <a:pt x="150" y="1271"/>
                    </a:cubicBezTo>
                    <a:cubicBezTo>
                      <a:pt x="150" y="1889"/>
                      <a:pt x="653" y="2392"/>
                      <a:pt x="1271" y="2392"/>
                    </a:cubicBezTo>
                    <a:cubicBezTo>
                      <a:pt x="1889" y="2392"/>
                      <a:pt x="2391" y="1889"/>
                      <a:pt x="2391" y="1271"/>
                    </a:cubicBezTo>
                    <a:cubicBezTo>
                      <a:pt x="2391" y="653"/>
                      <a:pt x="1889" y="150"/>
                      <a:pt x="1271" y="150"/>
                    </a:cubicBezTo>
                    <a:close/>
                    <a:moveTo>
                      <a:pt x="1271" y="2542"/>
                    </a:moveTo>
                    <a:cubicBezTo>
                      <a:pt x="570" y="2542"/>
                      <a:pt x="0" y="1972"/>
                      <a:pt x="0" y="1271"/>
                    </a:cubicBezTo>
                    <a:cubicBezTo>
                      <a:pt x="0" y="570"/>
                      <a:pt x="570" y="0"/>
                      <a:pt x="1271" y="0"/>
                    </a:cubicBezTo>
                    <a:cubicBezTo>
                      <a:pt x="1971" y="0"/>
                      <a:pt x="2541" y="570"/>
                      <a:pt x="2541" y="1271"/>
                    </a:cubicBezTo>
                    <a:cubicBezTo>
                      <a:pt x="2541" y="1972"/>
                      <a:pt x="1971" y="2542"/>
                      <a:pt x="1271" y="2542"/>
                    </a:cubicBezTo>
                    <a:close/>
                  </a:path>
                </a:pathLst>
              </a:custGeom>
              <a:solidFill>
                <a:srgbClr val="4472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8" name="Freeform 162">
                <a:extLst>
                  <a:ext uri="{FF2B5EF4-FFF2-40B4-BE49-F238E27FC236}">
                    <a16:creationId xmlns:a16="http://schemas.microsoft.com/office/drawing/2014/main" id="{61D42A69-AF63-46C6-ABCD-89D6349CF4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847725" y="5649913"/>
                <a:ext cx="2233613" cy="2235200"/>
              </a:xfrm>
              <a:custGeom>
                <a:avLst/>
                <a:gdLst>
                  <a:gd name="T0" fmla="*/ 1465 w 2931"/>
                  <a:gd name="T1" fmla="*/ 184 h 2932"/>
                  <a:gd name="T2" fmla="*/ 183 w 2931"/>
                  <a:gd name="T3" fmla="*/ 1466 h 2932"/>
                  <a:gd name="T4" fmla="*/ 1465 w 2931"/>
                  <a:gd name="T5" fmla="*/ 2749 h 2932"/>
                  <a:gd name="T6" fmla="*/ 2748 w 2931"/>
                  <a:gd name="T7" fmla="*/ 1466 h 2932"/>
                  <a:gd name="T8" fmla="*/ 1465 w 2931"/>
                  <a:gd name="T9" fmla="*/ 184 h 2932"/>
                  <a:gd name="T10" fmla="*/ 1465 w 2931"/>
                  <a:gd name="T11" fmla="*/ 2932 h 2932"/>
                  <a:gd name="T12" fmla="*/ 0 w 2931"/>
                  <a:gd name="T13" fmla="*/ 1466 h 2932"/>
                  <a:gd name="T14" fmla="*/ 1465 w 2931"/>
                  <a:gd name="T15" fmla="*/ 0 h 2932"/>
                  <a:gd name="T16" fmla="*/ 2931 w 2931"/>
                  <a:gd name="T17" fmla="*/ 1466 h 2932"/>
                  <a:gd name="T18" fmla="*/ 1465 w 2931"/>
                  <a:gd name="T19" fmla="*/ 2932 h 29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31" h="2932">
                    <a:moveTo>
                      <a:pt x="1465" y="184"/>
                    </a:moveTo>
                    <a:cubicBezTo>
                      <a:pt x="758" y="184"/>
                      <a:pt x="183" y="759"/>
                      <a:pt x="183" y="1466"/>
                    </a:cubicBezTo>
                    <a:cubicBezTo>
                      <a:pt x="183" y="2173"/>
                      <a:pt x="758" y="2749"/>
                      <a:pt x="1465" y="2749"/>
                    </a:cubicBezTo>
                    <a:cubicBezTo>
                      <a:pt x="2173" y="2749"/>
                      <a:pt x="2748" y="2173"/>
                      <a:pt x="2748" y="1466"/>
                    </a:cubicBezTo>
                    <a:cubicBezTo>
                      <a:pt x="2748" y="759"/>
                      <a:pt x="2173" y="184"/>
                      <a:pt x="1465" y="184"/>
                    </a:cubicBezTo>
                    <a:close/>
                    <a:moveTo>
                      <a:pt x="1465" y="2932"/>
                    </a:moveTo>
                    <a:cubicBezTo>
                      <a:pt x="657" y="2932"/>
                      <a:pt x="0" y="2274"/>
                      <a:pt x="0" y="1466"/>
                    </a:cubicBezTo>
                    <a:cubicBezTo>
                      <a:pt x="0" y="658"/>
                      <a:pt x="657" y="0"/>
                      <a:pt x="1465" y="0"/>
                    </a:cubicBezTo>
                    <a:cubicBezTo>
                      <a:pt x="2274" y="0"/>
                      <a:pt x="2931" y="658"/>
                      <a:pt x="2931" y="1466"/>
                    </a:cubicBezTo>
                    <a:cubicBezTo>
                      <a:pt x="2931" y="2274"/>
                      <a:pt x="2274" y="2932"/>
                      <a:pt x="1465" y="2932"/>
                    </a:cubicBezTo>
                  </a:path>
                </a:pathLst>
              </a:cu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89" name="Freeform 164">
                <a:extLst>
                  <a:ext uri="{FF2B5EF4-FFF2-40B4-BE49-F238E27FC236}">
                    <a16:creationId xmlns:a16="http://schemas.microsoft.com/office/drawing/2014/main" id="{078C1636-9A9A-429F-A8F6-3FA2781387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4238" y="8616950"/>
                <a:ext cx="2070100" cy="2070100"/>
              </a:xfrm>
              <a:custGeom>
                <a:avLst/>
                <a:gdLst>
                  <a:gd name="T0" fmla="*/ 1358 w 2716"/>
                  <a:gd name="T1" fmla="*/ 183 h 2716"/>
                  <a:gd name="T2" fmla="*/ 184 w 2716"/>
                  <a:gd name="T3" fmla="*/ 1358 h 2716"/>
                  <a:gd name="T4" fmla="*/ 1358 w 2716"/>
                  <a:gd name="T5" fmla="*/ 2532 h 2716"/>
                  <a:gd name="T6" fmla="*/ 2533 w 2716"/>
                  <a:gd name="T7" fmla="*/ 1358 h 2716"/>
                  <a:gd name="T8" fmla="*/ 1358 w 2716"/>
                  <a:gd name="T9" fmla="*/ 183 h 2716"/>
                  <a:gd name="T10" fmla="*/ 1358 w 2716"/>
                  <a:gd name="T11" fmla="*/ 2716 h 2716"/>
                  <a:gd name="T12" fmla="*/ 0 w 2716"/>
                  <a:gd name="T13" fmla="*/ 1358 h 2716"/>
                  <a:gd name="T14" fmla="*/ 1358 w 2716"/>
                  <a:gd name="T15" fmla="*/ 0 h 2716"/>
                  <a:gd name="T16" fmla="*/ 2716 w 2716"/>
                  <a:gd name="T17" fmla="*/ 1358 h 2716"/>
                  <a:gd name="T18" fmla="*/ 1358 w 2716"/>
                  <a:gd name="T19" fmla="*/ 2716 h 2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16" h="2716">
                    <a:moveTo>
                      <a:pt x="1358" y="183"/>
                    </a:moveTo>
                    <a:cubicBezTo>
                      <a:pt x="710" y="183"/>
                      <a:pt x="184" y="710"/>
                      <a:pt x="184" y="1358"/>
                    </a:cubicBezTo>
                    <a:cubicBezTo>
                      <a:pt x="184" y="2005"/>
                      <a:pt x="710" y="2532"/>
                      <a:pt x="1358" y="2532"/>
                    </a:cubicBezTo>
                    <a:cubicBezTo>
                      <a:pt x="2006" y="2532"/>
                      <a:pt x="2533" y="2005"/>
                      <a:pt x="2533" y="1358"/>
                    </a:cubicBezTo>
                    <a:cubicBezTo>
                      <a:pt x="2533" y="710"/>
                      <a:pt x="2006" y="183"/>
                      <a:pt x="1358" y="183"/>
                    </a:cubicBezTo>
                    <a:close/>
                    <a:moveTo>
                      <a:pt x="1358" y="2716"/>
                    </a:moveTo>
                    <a:cubicBezTo>
                      <a:pt x="609" y="2716"/>
                      <a:pt x="0" y="2107"/>
                      <a:pt x="0" y="1358"/>
                    </a:cubicBezTo>
                    <a:cubicBezTo>
                      <a:pt x="0" y="609"/>
                      <a:pt x="609" y="0"/>
                      <a:pt x="1358" y="0"/>
                    </a:cubicBezTo>
                    <a:cubicBezTo>
                      <a:pt x="2107" y="0"/>
                      <a:pt x="2716" y="609"/>
                      <a:pt x="2716" y="1358"/>
                    </a:cubicBezTo>
                    <a:cubicBezTo>
                      <a:pt x="2716" y="2107"/>
                      <a:pt x="2107" y="2716"/>
                      <a:pt x="1358" y="2716"/>
                    </a:cubicBezTo>
                    <a:close/>
                  </a:path>
                </a:pathLst>
              </a:custGeom>
              <a:solidFill>
                <a:srgbClr val="4472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90" name="Freeform 166">
                <a:extLst>
                  <a:ext uri="{FF2B5EF4-FFF2-40B4-BE49-F238E27FC236}">
                    <a16:creationId xmlns:a16="http://schemas.microsoft.com/office/drawing/2014/main" id="{1D2A1382-D0C7-40FF-B624-F48346A071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688" y="733425"/>
                <a:ext cx="2371725" cy="2371725"/>
              </a:xfrm>
              <a:custGeom>
                <a:avLst/>
                <a:gdLst>
                  <a:gd name="T0" fmla="*/ 1556 w 3112"/>
                  <a:gd name="T1" fmla="*/ 200 h 3112"/>
                  <a:gd name="T2" fmla="*/ 200 w 3112"/>
                  <a:gd name="T3" fmla="*/ 1556 h 3112"/>
                  <a:gd name="T4" fmla="*/ 1556 w 3112"/>
                  <a:gd name="T5" fmla="*/ 2912 h 3112"/>
                  <a:gd name="T6" fmla="*/ 2912 w 3112"/>
                  <a:gd name="T7" fmla="*/ 1556 h 3112"/>
                  <a:gd name="T8" fmla="*/ 1556 w 3112"/>
                  <a:gd name="T9" fmla="*/ 200 h 3112"/>
                  <a:gd name="T10" fmla="*/ 1556 w 3112"/>
                  <a:gd name="T11" fmla="*/ 3112 h 3112"/>
                  <a:gd name="T12" fmla="*/ 0 w 3112"/>
                  <a:gd name="T13" fmla="*/ 1556 h 3112"/>
                  <a:gd name="T14" fmla="*/ 1556 w 3112"/>
                  <a:gd name="T15" fmla="*/ 0 h 3112"/>
                  <a:gd name="T16" fmla="*/ 3112 w 3112"/>
                  <a:gd name="T17" fmla="*/ 1556 h 3112"/>
                  <a:gd name="T18" fmla="*/ 1556 w 3112"/>
                  <a:gd name="T19" fmla="*/ 3112 h 3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12" h="3112">
                    <a:moveTo>
                      <a:pt x="1556" y="200"/>
                    </a:moveTo>
                    <a:cubicBezTo>
                      <a:pt x="809" y="200"/>
                      <a:pt x="200" y="808"/>
                      <a:pt x="200" y="1556"/>
                    </a:cubicBezTo>
                    <a:cubicBezTo>
                      <a:pt x="200" y="2304"/>
                      <a:pt x="809" y="2912"/>
                      <a:pt x="1556" y="2912"/>
                    </a:cubicBezTo>
                    <a:cubicBezTo>
                      <a:pt x="2304" y="2912"/>
                      <a:pt x="2912" y="2304"/>
                      <a:pt x="2912" y="1556"/>
                    </a:cubicBezTo>
                    <a:cubicBezTo>
                      <a:pt x="2912" y="808"/>
                      <a:pt x="2304" y="200"/>
                      <a:pt x="1556" y="200"/>
                    </a:cubicBezTo>
                    <a:close/>
                    <a:moveTo>
                      <a:pt x="1556" y="3112"/>
                    </a:moveTo>
                    <a:cubicBezTo>
                      <a:pt x="698" y="3112"/>
                      <a:pt x="0" y="2414"/>
                      <a:pt x="0" y="1556"/>
                    </a:cubicBezTo>
                    <a:cubicBezTo>
                      <a:pt x="0" y="698"/>
                      <a:pt x="698" y="0"/>
                      <a:pt x="1556" y="0"/>
                    </a:cubicBezTo>
                    <a:cubicBezTo>
                      <a:pt x="2414" y="0"/>
                      <a:pt x="3112" y="698"/>
                      <a:pt x="3112" y="1556"/>
                    </a:cubicBezTo>
                    <a:cubicBezTo>
                      <a:pt x="3112" y="2414"/>
                      <a:pt x="2414" y="3112"/>
                      <a:pt x="1556" y="3112"/>
                    </a:cubicBezTo>
                    <a:close/>
                  </a:path>
                </a:pathLst>
              </a:custGeom>
              <a:solidFill>
                <a:srgbClr val="70A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91" name="Freeform 168">
                <a:extLst>
                  <a:ext uri="{FF2B5EF4-FFF2-40B4-BE49-F238E27FC236}">
                    <a16:creationId xmlns:a16="http://schemas.microsoft.com/office/drawing/2014/main" id="{4C2709FE-458F-402F-A99C-A6BEA7C0C9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6" y="3817938"/>
                <a:ext cx="1887538" cy="1887538"/>
              </a:xfrm>
              <a:custGeom>
                <a:avLst/>
                <a:gdLst>
                  <a:gd name="T0" fmla="*/ 1239 w 2477"/>
                  <a:gd name="T1" fmla="*/ 150 h 2477"/>
                  <a:gd name="T2" fmla="*/ 150 w 2477"/>
                  <a:gd name="T3" fmla="*/ 1239 h 2477"/>
                  <a:gd name="T4" fmla="*/ 1239 w 2477"/>
                  <a:gd name="T5" fmla="*/ 2327 h 2477"/>
                  <a:gd name="T6" fmla="*/ 2327 w 2477"/>
                  <a:gd name="T7" fmla="*/ 1239 h 2477"/>
                  <a:gd name="T8" fmla="*/ 1239 w 2477"/>
                  <a:gd name="T9" fmla="*/ 150 h 2477"/>
                  <a:gd name="T10" fmla="*/ 1239 w 2477"/>
                  <a:gd name="T11" fmla="*/ 2477 h 2477"/>
                  <a:gd name="T12" fmla="*/ 0 w 2477"/>
                  <a:gd name="T13" fmla="*/ 1239 h 2477"/>
                  <a:gd name="T14" fmla="*/ 1239 w 2477"/>
                  <a:gd name="T15" fmla="*/ 0 h 2477"/>
                  <a:gd name="T16" fmla="*/ 2477 w 2477"/>
                  <a:gd name="T17" fmla="*/ 1239 h 2477"/>
                  <a:gd name="T18" fmla="*/ 1239 w 2477"/>
                  <a:gd name="T19" fmla="*/ 2477 h 2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77" h="2477">
                    <a:moveTo>
                      <a:pt x="1239" y="150"/>
                    </a:moveTo>
                    <a:cubicBezTo>
                      <a:pt x="638" y="150"/>
                      <a:pt x="150" y="639"/>
                      <a:pt x="150" y="1239"/>
                    </a:cubicBezTo>
                    <a:cubicBezTo>
                      <a:pt x="150" y="1839"/>
                      <a:pt x="638" y="2327"/>
                      <a:pt x="1239" y="2327"/>
                    </a:cubicBezTo>
                    <a:cubicBezTo>
                      <a:pt x="1839" y="2327"/>
                      <a:pt x="2327" y="1839"/>
                      <a:pt x="2327" y="1239"/>
                    </a:cubicBezTo>
                    <a:cubicBezTo>
                      <a:pt x="2327" y="639"/>
                      <a:pt x="1839" y="150"/>
                      <a:pt x="1239" y="150"/>
                    </a:cubicBezTo>
                    <a:close/>
                    <a:moveTo>
                      <a:pt x="1239" y="2477"/>
                    </a:moveTo>
                    <a:cubicBezTo>
                      <a:pt x="556" y="2477"/>
                      <a:pt x="0" y="1922"/>
                      <a:pt x="0" y="1239"/>
                    </a:cubicBezTo>
                    <a:cubicBezTo>
                      <a:pt x="0" y="556"/>
                      <a:pt x="556" y="0"/>
                      <a:pt x="1239" y="0"/>
                    </a:cubicBezTo>
                    <a:cubicBezTo>
                      <a:pt x="1922" y="0"/>
                      <a:pt x="2477" y="556"/>
                      <a:pt x="2477" y="1239"/>
                    </a:cubicBezTo>
                    <a:cubicBezTo>
                      <a:pt x="2477" y="1922"/>
                      <a:pt x="1922" y="2477"/>
                      <a:pt x="1239" y="2477"/>
                    </a:cubicBezTo>
                    <a:close/>
                  </a:path>
                </a:pathLst>
              </a:custGeom>
              <a:solidFill>
                <a:srgbClr val="ED7D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92" name="Freeform 170">
                <a:extLst>
                  <a:ext uri="{FF2B5EF4-FFF2-40B4-BE49-F238E27FC236}">
                    <a16:creationId xmlns:a16="http://schemas.microsoft.com/office/drawing/2014/main" id="{68F1EAFA-4D9C-44F4-BFD4-F8BEFD6CC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89176" y="6083300"/>
                <a:ext cx="2455863" cy="2457450"/>
              </a:xfrm>
              <a:custGeom>
                <a:avLst/>
                <a:gdLst>
                  <a:gd name="T0" fmla="*/ 1612 w 3223"/>
                  <a:gd name="T1" fmla="*/ 200 h 3224"/>
                  <a:gd name="T2" fmla="*/ 200 w 3223"/>
                  <a:gd name="T3" fmla="*/ 1612 h 3224"/>
                  <a:gd name="T4" fmla="*/ 1612 w 3223"/>
                  <a:gd name="T5" fmla="*/ 3024 h 3224"/>
                  <a:gd name="T6" fmla="*/ 3023 w 3223"/>
                  <a:gd name="T7" fmla="*/ 1612 h 3224"/>
                  <a:gd name="T8" fmla="*/ 1612 w 3223"/>
                  <a:gd name="T9" fmla="*/ 200 h 3224"/>
                  <a:gd name="T10" fmla="*/ 1612 w 3223"/>
                  <a:gd name="T11" fmla="*/ 3224 h 3224"/>
                  <a:gd name="T12" fmla="*/ 0 w 3223"/>
                  <a:gd name="T13" fmla="*/ 1612 h 3224"/>
                  <a:gd name="T14" fmla="*/ 1612 w 3223"/>
                  <a:gd name="T15" fmla="*/ 0 h 3224"/>
                  <a:gd name="T16" fmla="*/ 3223 w 3223"/>
                  <a:gd name="T17" fmla="*/ 1612 h 3224"/>
                  <a:gd name="T18" fmla="*/ 1612 w 3223"/>
                  <a:gd name="T19" fmla="*/ 3224 h 3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23" h="3224">
                    <a:moveTo>
                      <a:pt x="1612" y="200"/>
                    </a:moveTo>
                    <a:cubicBezTo>
                      <a:pt x="833" y="200"/>
                      <a:pt x="200" y="833"/>
                      <a:pt x="200" y="1612"/>
                    </a:cubicBezTo>
                    <a:cubicBezTo>
                      <a:pt x="200" y="2390"/>
                      <a:pt x="833" y="3024"/>
                      <a:pt x="1612" y="3024"/>
                    </a:cubicBezTo>
                    <a:cubicBezTo>
                      <a:pt x="2390" y="3024"/>
                      <a:pt x="3023" y="2390"/>
                      <a:pt x="3023" y="1612"/>
                    </a:cubicBezTo>
                    <a:cubicBezTo>
                      <a:pt x="3023" y="833"/>
                      <a:pt x="2390" y="200"/>
                      <a:pt x="1612" y="200"/>
                    </a:cubicBezTo>
                    <a:close/>
                    <a:moveTo>
                      <a:pt x="1612" y="3224"/>
                    </a:moveTo>
                    <a:cubicBezTo>
                      <a:pt x="723" y="3224"/>
                      <a:pt x="0" y="2501"/>
                      <a:pt x="0" y="1612"/>
                    </a:cubicBezTo>
                    <a:cubicBezTo>
                      <a:pt x="0" y="723"/>
                      <a:pt x="723" y="0"/>
                      <a:pt x="1612" y="0"/>
                    </a:cubicBezTo>
                    <a:cubicBezTo>
                      <a:pt x="2500" y="0"/>
                      <a:pt x="3223" y="723"/>
                      <a:pt x="3223" y="1612"/>
                    </a:cubicBezTo>
                    <a:cubicBezTo>
                      <a:pt x="3223" y="2501"/>
                      <a:pt x="2500" y="3224"/>
                      <a:pt x="1612" y="3224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93" name="Freeform 172">
                <a:extLst>
                  <a:ext uri="{FF2B5EF4-FFF2-40B4-BE49-F238E27FC236}">
                    <a16:creationId xmlns:a16="http://schemas.microsoft.com/office/drawing/2014/main" id="{64A6FBAD-0938-4D39-BBCC-9325F7728A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34688" y="4640263"/>
                <a:ext cx="2130425" cy="2128838"/>
              </a:xfrm>
              <a:custGeom>
                <a:avLst/>
                <a:gdLst>
                  <a:gd name="T0" fmla="*/ 1398 w 2795"/>
                  <a:gd name="T1" fmla="*/ 183 h 2795"/>
                  <a:gd name="T2" fmla="*/ 183 w 2795"/>
                  <a:gd name="T3" fmla="*/ 1397 h 2795"/>
                  <a:gd name="T4" fmla="*/ 1398 w 2795"/>
                  <a:gd name="T5" fmla="*/ 2612 h 2795"/>
                  <a:gd name="T6" fmla="*/ 2612 w 2795"/>
                  <a:gd name="T7" fmla="*/ 1397 h 2795"/>
                  <a:gd name="T8" fmla="*/ 1398 w 2795"/>
                  <a:gd name="T9" fmla="*/ 183 h 2795"/>
                  <a:gd name="T10" fmla="*/ 1398 w 2795"/>
                  <a:gd name="T11" fmla="*/ 2795 h 2795"/>
                  <a:gd name="T12" fmla="*/ 0 w 2795"/>
                  <a:gd name="T13" fmla="*/ 1397 h 2795"/>
                  <a:gd name="T14" fmla="*/ 1398 w 2795"/>
                  <a:gd name="T15" fmla="*/ 0 h 2795"/>
                  <a:gd name="T16" fmla="*/ 2795 w 2795"/>
                  <a:gd name="T17" fmla="*/ 1397 h 2795"/>
                  <a:gd name="T18" fmla="*/ 1398 w 2795"/>
                  <a:gd name="T19" fmla="*/ 2795 h 2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95" h="2795">
                    <a:moveTo>
                      <a:pt x="1398" y="183"/>
                    </a:moveTo>
                    <a:cubicBezTo>
                      <a:pt x="728" y="183"/>
                      <a:pt x="183" y="728"/>
                      <a:pt x="183" y="1397"/>
                    </a:cubicBezTo>
                    <a:cubicBezTo>
                      <a:pt x="183" y="2067"/>
                      <a:pt x="728" y="2612"/>
                      <a:pt x="1398" y="2612"/>
                    </a:cubicBezTo>
                    <a:cubicBezTo>
                      <a:pt x="2067" y="2612"/>
                      <a:pt x="2612" y="2067"/>
                      <a:pt x="2612" y="1397"/>
                    </a:cubicBezTo>
                    <a:cubicBezTo>
                      <a:pt x="2612" y="728"/>
                      <a:pt x="2067" y="183"/>
                      <a:pt x="1398" y="183"/>
                    </a:cubicBezTo>
                    <a:close/>
                    <a:moveTo>
                      <a:pt x="1398" y="2795"/>
                    </a:moveTo>
                    <a:cubicBezTo>
                      <a:pt x="627" y="2795"/>
                      <a:pt x="0" y="2168"/>
                      <a:pt x="0" y="1397"/>
                    </a:cubicBezTo>
                    <a:cubicBezTo>
                      <a:pt x="0" y="627"/>
                      <a:pt x="627" y="0"/>
                      <a:pt x="1398" y="0"/>
                    </a:cubicBezTo>
                    <a:cubicBezTo>
                      <a:pt x="2168" y="0"/>
                      <a:pt x="2795" y="627"/>
                      <a:pt x="2795" y="1397"/>
                    </a:cubicBezTo>
                    <a:cubicBezTo>
                      <a:pt x="2795" y="2168"/>
                      <a:pt x="2168" y="2795"/>
                      <a:pt x="1398" y="2795"/>
                    </a:cubicBezTo>
                  </a:path>
                </a:pathLst>
              </a:custGeom>
              <a:solidFill>
                <a:srgbClr val="ED7D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694" name="Freeform 174">
                <a:extLst>
                  <a:ext uri="{FF2B5EF4-FFF2-40B4-BE49-F238E27FC236}">
                    <a16:creationId xmlns:a16="http://schemas.microsoft.com/office/drawing/2014/main" id="{46FECD72-5FF3-40DE-8854-2BD4400E78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02651" y="6554788"/>
                <a:ext cx="1901825" cy="1901825"/>
              </a:xfrm>
              <a:custGeom>
                <a:avLst/>
                <a:gdLst>
                  <a:gd name="T0" fmla="*/ 1247 w 2495"/>
                  <a:gd name="T1" fmla="*/ 150 h 2495"/>
                  <a:gd name="T2" fmla="*/ 150 w 2495"/>
                  <a:gd name="T3" fmla="*/ 1248 h 2495"/>
                  <a:gd name="T4" fmla="*/ 1247 w 2495"/>
                  <a:gd name="T5" fmla="*/ 2345 h 2495"/>
                  <a:gd name="T6" fmla="*/ 2345 w 2495"/>
                  <a:gd name="T7" fmla="*/ 1248 h 2495"/>
                  <a:gd name="T8" fmla="*/ 1247 w 2495"/>
                  <a:gd name="T9" fmla="*/ 150 h 2495"/>
                  <a:gd name="T10" fmla="*/ 1247 w 2495"/>
                  <a:gd name="T11" fmla="*/ 2495 h 2495"/>
                  <a:gd name="T12" fmla="*/ 0 w 2495"/>
                  <a:gd name="T13" fmla="*/ 1248 h 2495"/>
                  <a:gd name="T14" fmla="*/ 1247 w 2495"/>
                  <a:gd name="T15" fmla="*/ 0 h 2495"/>
                  <a:gd name="T16" fmla="*/ 2495 w 2495"/>
                  <a:gd name="T17" fmla="*/ 1248 h 2495"/>
                  <a:gd name="T18" fmla="*/ 1247 w 2495"/>
                  <a:gd name="T19" fmla="*/ 2495 h 2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95" h="2495">
                    <a:moveTo>
                      <a:pt x="1247" y="150"/>
                    </a:moveTo>
                    <a:cubicBezTo>
                      <a:pt x="642" y="150"/>
                      <a:pt x="150" y="642"/>
                      <a:pt x="150" y="1248"/>
                    </a:cubicBezTo>
                    <a:cubicBezTo>
                      <a:pt x="150" y="1853"/>
                      <a:pt x="642" y="2345"/>
                      <a:pt x="1247" y="2345"/>
                    </a:cubicBezTo>
                    <a:cubicBezTo>
                      <a:pt x="1852" y="2345"/>
                      <a:pt x="2345" y="1853"/>
                      <a:pt x="2345" y="1248"/>
                    </a:cubicBezTo>
                    <a:cubicBezTo>
                      <a:pt x="2345" y="642"/>
                      <a:pt x="1852" y="150"/>
                      <a:pt x="1247" y="150"/>
                    </a:cubicBezTo>
                    <a:close/>
                    <a:moveTo>
                      <a:pt x="1247" y="2495"/>
                    </a:moveTo>
                    <a:cubicBezTo>
                      <a:pt x="559" y="2495"/>
                      <a:pt x="0" y="1936"/>
                      <a:pt x="0" y="1248"/>
                    </a:cubicBezTo>
                    <a:cubicBezTo>
                      <a:pt x="0" y="560"/>
                      <a:pt x="559" y="0"/>
                      <a:pt x="1247" y="0"/>
                    </a:cubicBezTo>
                    <a:cubicBezTo>
                      <a:pt x="1935" y="0"/>
                      <a:pt x="2495" y="560"/>
                      <a:pt x="2495" y="1248"/>
                    </a:cubicBezTo>
                    <a:cubicBezTo>
                      <a:pt x="2495" y="1936"/>
                      <a:pt x="1935" y="2495"/>
                      <a:pt x="1247" y="2495"/>
                    </a:cubicBezTo>
                  </a:path>
                </a:pathLst>
              </a:cu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695" name="Bitcoin5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90A41DE2-0770-4969-A8D9-F5599C986A0C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5280317" y="1058744"/>
              <a:ext cx="290935" cy="493568"/>
            </a:xfrm>
            <a:custGeom>
              <a:avLst/>
              <a:gdLst>
                <a:gd name="T0" fmla="*/ 994 w 2989"/>
                <a:gd name="T1" fmla="*/ 488 h 5086"/>
                <a:gd name="T2" fmla="*/ 1924 w 2989"/>
                <a:gd name="T3" fmla="*/ 555 h 5086"/>
                <a:gd name="T4" fmla="*/ 1924 w 2989"/>
                <a:gd name="T5" fmla="*/ 422 h 5086"/>
                <a:gd name="T6" fmla="*/ 1645 w 2989"/>
                <a:gd name="T7" fmla="*/ 4365 h 5086"/>
                <a:gd name="T8" fmla="*/ 1339 w 2989"/>
                <a:gd name="T9" fmla="*/ 4368 h 5086"/>
                <a:gd name="T10" fmla="*/ 1337 w 2989"/>
                <a:gd name="T11" fmla="*/ 4663 h 5086"/>
                <a:gd name="T12" fmla="*/ 1345 w 2989"/>
                <a:gd name="T13" fmla="*/ 4672 h 5086"/>
                <a:gd name="T14" fmla="*/ 1650 w 2989"/>
                <a:gd name="T15" fmla="*/ 4669 h 5086"/>
                <a:gd name="T16" fmla="*/ 1653 w 2989"/>
                <a:gd name="T17" fmla="*/ 4663 h 5086"/>
                <a:gd name="T18" fmla="*/ 1651 w 2989"/>
                <a:gd name="T19" fmla="*/ 4368 h 5086"/>
                <a:gd name="T20" fmla="*/ 1645 w 2989"/>
                <a:gd name="T21" fmla="*/ 4365 h 5086"/>
                <a:gd name="T22" fmla="*/ 1645 w 2989"/>
                <a:gd name="T23" fmla="*/ 4232 h 5086"/>
                <a:gd name="T24" fmla="*/ 1745 w 2989"/>
                <a:gd name="T25" fmla="*/ 4274 h 5086"/>
                <a:gd name="T26" fmla="*/ 1786 w 2989"/>
                <a:gd name="T27" fmla="*/ 4663 h 5086"/>
                <a:gd name="T28" fmla="*/ 1745 w 2989"/>
                <a:gd name="T29" fmla="*/ 4763 h 5086"/>
                <a:gd name="T30" fmla="*/ 1345 w 2989"/>
                <a:gd name="T31" fmla="*/ 4805 h 5086"/>
                <a:gd name="T32" fmla="*/ 1203 w 2989"/>
                <a:gd name="T33" fmla="*/ 4663 h 5086"/>
                <a:gd name="T34" fmla="*/ 1245 w 2989"/>
                <a:gd name="T35" fmla="*/ 4274 h 5086"/>
                <a:gd name="T36" fmla="*/ 246 w 2989"/>
                <a:gd name="T37" fmla="*/ 920 h 5086"/>
                <a:gd name="T38" fmla="*/ 2743 w 2989"/>
                <a:gd name="T39" fmla="*/ 4002 h 5086"/>
                <a:gd name="T40" fmla="*/ 246 w 2989"/>
                <a:gd name="T41" fmla="*/ 920 h 5086"/>
                <a:gd name="T42" fmla="*/ 2536 w 2989"/>
                <a:gd name="T43" fmla="*/ 2461 h 5086"/>
                <a:gd name="T44" fmla="*/ 454 w 2989"/>
                <a:gd name="T45" fmla="*/ 2461 h 5086"/>
                <a:gd name="T46" fmla="*/ 1660 w 2989"/>
                <a:gd name="T47" fmla="*/ 2070 h 5086"/>
                <a:gd name="T48" fmla="*/ 1269 w 2989"/>
                <a:gd name="T49" fmla="*/ 2362 h 5086"/>
                <a:gd name="T50" fmla="*/ 1763 w 2989"/>
                <a:gd name="T51" fmla="*/ 2319 h 5086"/>
                <a:gd name="T52" fmla="*/ 1763 w 2989"/>
                <a:gd name="T53" fmla="*/ 2113 h 5086"/>
                <a:gd name="T54" fmla="*/ 1660 w 2989"/>
                <a:gd name="T55" fmla="*/ 2528 h 5086"/>
                <a:gd name="T56" fmla="*/ 1269 w 2989"/>
                <a:gd name="T57" fmla="*/ 2820 h 5086"/>
                <a:gd name="T58" fmla="*/ 1860 w 2989"/>
                <a:gd name="T59" fmla="*/ 2778 h 5086"/>
                <a:gd name="T60" fmla="*/ 1860 w 2989"/>
                <a:gd name="T61" fmla="*/ 2571 h 5086"/>
                <a:gd name="T62" fmla="*/ 1660 w 2989"/>
                <a:gd name="T63" fmla="*/ 2528 h 5086"/>
                <a:gd name="T64" fmla="*/ 1420 w 2989"/>
                <a:gd name="T65" fmla="*/ 1903 h 5086"/>
                <a:gd name="T66" fmla="*/ 1503 w 2989"/>
                <a:gd name="T67" fmla="*/ 1644 h 5086"/>
                <a:gd name="T68" fmla="*/ 1586 w 2989"/>
                <a:gd name="T69" fmla="*/ 1903 h 5086"/>
                <a:gd name="T70" fmla="*/ 1881 w 2989"/>
                <a:gd name="T71" fmla="*/ 1995 h 5086"/>
                <a:gd name="T72" fmla="*/ 1910 w 2989"/>
                <a:gd name="T73" fmla="*/ 2402 h 5086"/>
                <a:gd name="T74" fmla="*/ 2069 w 2989"/>
                <a:gd name="T75" fmla="*/ 2674 h 5086"/>
                <a:gd name="T76" fmla="*/ 1756 w 2989"/>
                <a:gd name="T77" fmla="*/ 2987 h 5086"/>
                <a:gd name="T78" fmla="*/ 1586 w 2989"/>
                <a:gd name="T79" fmla="*/ 3195 h 5086"/>
                <a:gd name="T80" fmla="*/ 1420 w 2989"/>
                <a:gd name="T81" fmla="*/ 3195 h 5086"/>
                <a:gd name="T82" fmla="*/ 1254 w 2989"/>
                <a:gd name="T83" fmla="*/ 2987 h 5086"/>
                <a:gd name="T84" fmla="*/ 1147 w 2989"/>
                <a:gd name="T85" fmla="*/ 2943 h 5086"/>
                <a:gd name="T86" fmla="*/ 1102 w 2989"/>
                <a:gd name="T87" fmla="*/ 2528 h 5086"/>
                <a:gd name="T88" fmla="*/ 1102 w 2989"/>
                <a:gd name="T89" fmla="*/ 2362 h 5086"/>
                <a:gd name="T90" fmla="*/ 1147 w 2989"/>
                <a:gd name="T91" fmla="*/ 1948 h 5086"/>
                <a:gd name="T92" fmla="*/ 1254 w 2989"/>
                <a:gd name="T93" fmla="*/ 1903 h 5086"/>
                <a:gd name="T94" fmla="*/ 2543 w 2989"/>
                <a:gd name="T95" fmla="*/ 0 h 5086"/>
                <a:gd name="T96" fmla="*/ 2989 w 2989"/>
                <a:gd name="T97" fmla="*/ 447 h 5086"/>
                <a:gd name="T98" fmla="*/ 2858 w 2989"/>
                <a:gd name="T99" fmla="*/ 4955 h 5086"/>
                <a:gd name="T100" fmla="*/ 446 w 2989"/>
                <a:gd name="T101" fmla="*/ 5086 h 5086"/>
                <a:gd name="T102" fmla="*/ 0 w 2989"/>
                <a:gd name="T103" fmla="*/ 4640 h 5086"/>
                <a:gd name="T104" fmla="*/ 131 w 2989"/>
                <a:gd name="T105" fmla="*/ 131 h 5086"/>
                <a:gd name="T106" fmla="*/ 446 w 2989"/>
                <a:gd name="T107" fmla="*/ 0 h 5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9" h="5086">
                  <a:moveTo>
                    <a:pt x="1061" y="422"/>
                  </a:moveTo>
                  <a:cubicBezTo>
                    <a:pt x="1024" y="422"/>
                    <a:pt x="994" y="451"/>
                    <a:pt x="994" y="488"/>
                  </a:cubicBezTo>
                  <a:cubicBezTo>
                    <a:pt x="994" y="525"/>
                    <a:pt x="1024" y="555"/>
                    <a:pt x="1061" y="555"/>
                  </a:cubicBezTo>
                  <a:lnTo>
                    <a:pt x="1924" y="555"/>
                  </a:lnTo>
                  <a:cubicBezTo>
                    <a:pt x="1961" y="555"/>
                    <a:pt x="1991" y="525"/>
                    <a:pt x="1991" y="488"/>
                  </a:cubicBezTo>
                  <a:cubicBezTo>
                    <a:pt x="1991" y="451"/>
                    <a:pt x="1961" y="422"/>
                    <a:pt x="1924" y="422"/>
                  </a:cubicBezTo>
                  <a:lnTo>
                    <a:pt x="1061" y="422"/>
                  </a:lnTo>
                  <a:close/>
                  <a:moveTo>
                    <a:pt x="1645" y="4365"/>
                  </a:moveTo>
                  <a:lnTo>
                    <a:pt x="1345" y="4365"/>
                  </a:lnTo>
                  <a:cubicBezTo>
                    <a:pt x="1343" y="4365"/>
                    <a:pt x="1341" y="4366"/>
                    <a:pt x="1339" y="4368"/>
                  </a:cubicBezTo>
                  <a:cubicBezTo>
                    <a:pt x="1338" y="4369"/>
                    <a:pt x="1337" y="4371"/>
                    <a:pt x="1337" y="4374"/>
                  </a:cubicBezTo>
                  <a:lnTo>
                    <a:pt x="1337" y="4663"/>
                  </a:lnTo>
                  <a:cubicBezTo>
                    <a:pt x="1337" y="4666"/>
                    <a:pt x="1338" y="4668"/>
                    <a:pt x="1339" y="4669"/>
                  </a:cubicBezTo>
                  <a:cubicBezTo>
                    <a:pt x="1341" y="4671"/>
                    <a:pt x="1343" y="4672"/>
                    <a:pt x="1345" y="4672"/>
                  </a:cubicBezTo>
                  <a:lnTo>
                    <a:pt x="1645" y="4672"/>
                  </a:lnTo>
                  <a:cubicBezTo>
                    <a:pt x="1647" y="4672"/>
                    <a:pt x="1649" y="4671"/>
                    <a:pt x="1650" y="4669"/>
                  </a:cubicBezTo>
                  <a:lnTo>
                    <a:pt x="1651" y="4669"/>
                  </a:lnTo>
                  <a:cubicBezTo>
                    <a:pt x="1652" y="4668"/>
                    <a:pt x="1653" y="4666"/>
                    <a:pt x="1653" y="4663"/>
                  </a:cubicBezTo>
                  <a:lnTo>
                    <a:pt x="1653" y="4374"/>
                  </a:lnTo>
                  <a:cubicBezTo>
                    <a:pt x="1653" y="4371"/>
                    <a:pt x="1652" y="4369"/>
                    <a:pt x="1651" y="4368"/>
                  </a:cubicBezTo>
                  <a:lnTo>
                    <a:pt x="1650" y="4368"/>
                  </a:lnTo>
                  <a:cubicBezTo>
                    <a:pt x="1649" y="4366"/>
                    <a:pt x="1647" y="4365"/>
                    <a:pt x="1645" y="4365"/>
                  </a:cubicBezTo>
                  <a:close/>
                  <a:moveTo>
                    <a:pt x="1345" y="4232"/>
                  </a:moveTo>
                  <a:lnTo>
                    <a:pt x="1645" y="4232"/>
                  </a:lnTo>
                  <a:cubicBezTo>
                    <a:pt x="1684" y="4232"/>
                    <a:pt x="1719" y="4248"/>
                    <a:pt x="1745" y="4274"/>
                  </a:cubicBezTo>
                  <a:lnTo>
                    <a:pt x="1745" y="4274"/>
                  </a:lnTo>
                  <a:cubicBezTo>
                    <a:pt x="1770" y="4299"/>
                    <a:pt x="1786" y="4335"/>
                    <a:pt x="1786" y="4374"/>
                  </a:cubicBezTo>
                  <a:lnTo>
                    <a:pt x="1786" y="4663"/>
                  </a:lnTo>
                  <a:cubicBezTo>
                    <a:pt x="1786" y="4702"/>
                    <a:pt x="1770" y="4738"/>
                    <a:pt x="1745" y="4763"/>
                  </a:cubicBezTo>
                  <a:lnTo>
                    <a:pt x="1745" y="4763"/>
                  </a:lnTo>
                  <a:cubicBezTo>
                    <a:pt x="1719" y="4789"/>
                    <a:pt x="1684" y="4805"/>
                    <a:pt x="1645" y="4805"/>
                  </a:cubicBezTo>
                  <a:lnTo>
                    <a:pt x="1345" y="4805"/>
                  </a:lnTo>
                  <a:cubicBezTo>
                    <a:pt x="1306" y="4805"/>
                    <a:pt x="1271" y="4789"/>
                    <a:pt x="1245" y="4763"/>
                  </a:cubicBezTo>
                  <a:cubicBezTo>
                    <a:pt x="1219" y="4738"/>
                    <a:pt x="1203" y="4702"/>
                    <a:pt x="1203" y="4663"/>
                  </a:cubicBezTo>
                  <a:lnTo>
                    <a:pt x="1203" y="4374"/>
                  </a:lnTo>
                  <a:cubicBezTo>
                    <a:pt x="1203" y="4335"/>
                    <a:pt x="1219" y="4299"/>
                    <a:pt x="1245" y="4274"/>
                  </a:cubicBezTo>
                  <a:cubicBezTo>
                    <a:pt x="1271" y="4248"/>
                    <a:pt x="1306" y="4232"/>
                    <a:pt x="1345" y="4232"/>
                  </a:cubicBezTo>
                  <a:close/>
                  <a:moveTo>
                    <a:pt x="246" y="920"/>
                  </a:moveTo>
                  <a:lnTo>
                    <a:pt x="2743" y="920"/>
                  </a:lnTo>
                  <a:lnTo>
                    <a:pt x="2743" y="4002"/>
                  </a:lnTo>
                  <a:lnTo>
                    <a:pt x="246" y="4002"/>
                  </a:lnTo>
                  <a:lnTo>
                    <a:pt x="246" y="920"/>
                  </a:lnTo>
                  <a:close/>
                  <a:moveTo>
                    <a:pt x="1495" y="1420"/>
                  </a:moveTo>
                  <a:cubicBezTo>
                    <a:pt x="2070" y="1420"/>
                    <a:pt x="2536" y="1886"/>
                    <a:pt x="2536" y="2461"/>
                  </a:cubicBezTo>
                  <a:cubicBezTo>
                    <a:pt x="2536" y="3036"/>
                    <a:pt x="2070" y="3502"/>
                    <a:pt x="1495" y="3502"/>
                  </a:cubicBezTo>
                  <a:cubicBezTo>
                    <a:pt x="920" y="3502"/>
                    <a:pt x="454" y="3036"/>
                    <a:pt x="454" y="2461"/>
                  </a:cubicBezTo>
                  <a:cubicBezTo>
                    <a:pt x="454" y="1886"/>
                    <a:pt x="920" y="1420"/>
                    <a:pt x="1495" y="1420"/>
                  </a:cubicBezTo>
                  <a:close/>
                  <a:moveTo>
                    <a:pt x="1660" y="2070"/>
                  </a:moveTo>
                  <a:lnTo>
                    <a:pt x="1269" y="2070"/>
                  </a:lnTo>
                  <a:lnTo>
                    <a:pt x="1269" y="2362"/>
                  </a:lnTo>
                  <a:lnTo>
                    <a:pt x="1660" y="2362"/>
                  </a:lnTo>
                  <a:cubicBezTo>
                    <a:pt x="1700" y="2362"/>
                    <a:pt x="1736" y="2345"/>
                    <a:pt x="1763" y="2319"/>
                  </a:cubicBezTo>
                  <a:cubicBezTo>
                    <a:pt x="1789" y="2292"/>
                    <a:pt x="1806" y="2256"/>
                    <a:pt x="1806" y="2216"/>
                  </a:cubicBezTo>
                  <a:cubicBezTo>
                    <a:pt x="1806" y="2176"/>
                    <a:pt x="1789" y="2139"/>
                    <a:pt x="1763" y="2113"/>
                  </a:cubicBezTo>
                  <a:cubicBezTo>
                    <a:pt x="1736" y="2086"/>
                    <a:pt x="1700" y="2070"/>
                    <a:pt x="1660" y="2070"/>
                  </a:cubicBezTo>
                  <a:close/>
                  <a:moveTo>
                    <a:pt x="1660" y="2528"/>
                  </a:moveTo>
                  <a:lnTo>
                    <a:pt x="1269" y="2528"/>
                  </a:lnTo>
                  <a:lnTo>
                    <a:pt x="1269" y="2820"/>
                  </a:lnTo>
                  <a:lnTo>
                    <a:pt x="1756" y="2820"/>
                  </a:lnTo>
                  <a:cubicBezTo>
                    <a:pt x="1797" y="2820"/>
                    <a:pt x="1833" y="2804"/>
                    <a:pt x="1860" y="2778"/>
                  </a:cubicBezTo>
                  <a:cubicBezTo>
                    <a:pt x="1886" y="2751"/>
                    <a:pt x="1902" y="2714"/>
                    <a:pt x="1902" y="2674"/>
                  </a:cubicBezTo>
                  <a:cubicBezTo>
                    <a:pt x="1902" y="2634"/>
                    <a:pt x="1886" y="2598"/>
                    <a:pt x="1860" y="2571"/>
                  </a:cubicBezTo>
                  <a:cubicBezTo>
                    <a:pt x="1833" y="2545"/>
                    <a:pt x="1797" y="2528"/>
                    <a:pt x="1756" y="2528"/>
                  </a:cubicBezTo>
                  <a:lnTo>
                    <a:pt x="1660" y="2528"/>
                  </a:lnTo>
                  <a:close/>
                  <a:moveTo>
                    <a:pt x="1254" y="1903"/>
                  </a:moveTo>
                  <a:lnTo>
                    <a:pt x="1420" y="1903"/>
                  </a:lnTo>
                  <a:lnTo>
                    <a:pt x="1420" y="1727"/>
                  </a:lnTo>
                  <a:cubicBezTo>
                    <a:pt x="1420" y="1681"/>
                    <a:pt x="1457" y="1644"/>
                    <a:pt x="1503" y="1644"/>
                  </a:cubicBezTo>
                  <a:cubicBezTo>
                    <a:pt x="1549" y="1644"/>
                    <a:pt x="1586" y="1681"/>
                    <a:pt x="1586" y="1727"/>
                  </a:cubicBezTo>
                  <a:lnTo>
                    <a:pt x="1586" y="1903"/>
                  </a:lnTo>
                  <a:lnTo>
                    <a:pt x="1660" y="1903"/>
                  </a:lnTo>
                  <a:cubicBezTo>
                    <a:pt x="1746" y="1903"/>
                    <a:pt x="1824" y="1938"/>
                    <a:pt x="1881" y="1995"/>
                  </a:cubicBezTo>
                  <a:cubicBezTo>
                    <a:pt x="1937" y="2051"/>
                    <a:pt x="1973" y="2130"/>
                    <a:pt x="1973" y="2216"/>
                  </a:cubicBezTo>
                  <a:cubicBezTo>
                    <a:pt x="1973" y="2286"/>
                    <a:pt x="1949" y="2350"/>
                    <a:pt x="1910" y="2402"/>
                  </a:cubicBezTo>
                  <a:cubicBezTo>
                    <a:pt x="1935" y="2416"/>
                    <a:pt x="1957" y="2434"/>
                    <a:pt x="1977" y="2453"/>
                  </a:cubicBezTo>
                  <a:cubicBezTo>
                    <a:pt x="2034" y="2510"/>
                    <a:pt x="2069" y="2588"/>
                    <a:pt x="2069" y="2674"/>
                  </a:cubicBezTo>
                  <a:cubicBezTo>
                    <a:pt x="2069" y="2760"/>
                    <a:pt x="2034" y="2839"/>
                    <a:pt x="1977" y="2895"/>
                  </a:cubicBezTo>
                  <a:cubicBezTo>
                    <a:pt x="1921" y="2952"/>
                    <a:pt x="1843" y="2987"/>
                    <a:pt x="1756" y="2987"/>
                  </a:cubicBezTo>
                  <a:lnTo>
                    <a:pt x="1586" y="2987"/>
                  </a:lnTo>
                  <a:lnTo>
                    <a:pt x="1586" y="3195"/>
                  </a:lnTo>
                  <a:cubicBezTo>
                    <a:pt x="1586" y="3241"/>
                    <a:pt x="1549" y="3278"/>
                    <a:pt x="1503" y="3278"/>
                  </a:cubicBezTo>
                  <a:cubicBezTo>
                    <a:pt x="1457" y="3278"/>
                    <a:pt x="1420" y="3241"/>
                    <a:pt x="1420" y="3195"/>
                  </a:cubicBezTo>
                  <a:lnTo>
                    <a:pt x="1420" y="2987"/>
                  </a:lnTo>
                  <a:lnTo>
                    <a:pt x="1254" y="2987"/>
                  </a:lnTo>
                  <a:cubicBezTo>
                    <a:pt x="1213" y="2987"/>
                    <a:pt x="1175" y="2970"/>
                    <a:pt x="1147" y="2943"/>
                  </a:cubicBezTo>
                  <a:lnTo>
                    <a:pt x="1147" y="2943"/>
                  </a:lnTo>
                  <a:cubicBezTo>
                    <a:pt x="1120" y="2915"/>
                    <a:pt x="1102" y="2877"/>
                    <a:pt x="1102" y="2835"/>
                  </a:cubicBezTo>
                  <a:lnTo>
                    <a:pt x="1102" y="2528"/>
                  </a:lnTo>
                  <a:lnTo>
                    <a:pt x="1102" y="2445"/>
                  </a:lnTo>
                  <a:lnTo>
                    <a:pt x="1102" y="2362"/>
                  </a:lnTo>
                  <a:lnTo>
                    <a:pt x="1102" y="2055"/>
                  </a:lnTo>
                  <a:cubicBezTo>
                    <a:pt x="1102" y="2013"/>
                    <a:pt x="1120" y="1975"/>
                    <a:pt x="1147" y="1948"/>
                  </a:cubicBezTo>
                  <a:lnTo>
                    <a:pt x="1147" y="1947"/>
                  </a:lnTo>
                  <a:cubicBezTo>
                    <a:pt x="1175" y="1920"/>
                    <a:pt x="1213" y="1903"/>
                    <a:pt x="1254" y="1903"/>
                  </a:cubicBezTo>
                  <a:close/>
                  <a:moveTo>
                    <a:pt x="446" y="0"/>
                  </a:moveTo>
                  <a:lnTo>
                    <a:pt x="2543" y="0"/>
                  </a:lnTo>
                  <a:cubicBezTo>
                    <a:pt x="2666" y="0"/>
                    <a:pt x="2778" y="51"/>
                    <a:pt x="2858" y="131"/>
                  </a:cubicBezTo>
                  <a:cubicBezTo>
                    <a:pt x="2939" y="212"/>
                    <a:pt x="2989" y="324"/>
                    <a:pt x="2989" y="447"/>
                  </a:cubicBezTo>
                  <a:lnTo>
                    <a:pt x="2989" y="4640"/>
                  </a:lnTo>
                  <a:cubicBezTo>
                    <a:pt x="2989" y="4763"/>
                    <a:pt x="2939" y="4875"/>
                    <a:pt x="2858" y="4955"/>
                  </a:cubicBezTo>
                  <a:cubicBezTo>
                    <a:pt x="2778" y="5036"/>
                    <a:pt x="2666" y="5086"/>
                    <a:pt x="2543" y="5086"/>
                  </a:cubicBezTo>
                  <a:lnTo>
                    <a:pt x="446" y="5086"/>
                  </a:lnTo>
                  <a:cubicBezTo>
                    <a:pt x="324" y="5086"/>
                    <a:pt x="212" y="5036"/>
                    <a:pt x="131" y="4955"/>
                  </a:cubicBezTo>
                  <a:cubicBezTo>
                    <a:pt x="50" y="4875"/>
                    <a:pt x="0" y="4763"/>
                    <a:pt x="0" y="4640"/>
                  </a:cubicBezTo>
                  <a:lnTo>
                    <a:pt x="0" y="447"/>
                  </a:lnTo>
                  <a:cubicBezTo>
                    <a:pt x="0" y="324"/>
                    <a:pt x="50" y="212"/>
                    <a:pt x="131" y="131"/>
                  </a:cubicBezTo>
                  <a:cubicBezTo>
                    <a:pt x="212" y="51"/>
                    <a:pt x="324" y="0"/>
                    <a:pt x="446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696" name="Browser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6B3006DD-3DF1-453C-A729-2E4D13156D1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3943776" y="2585961"/>
              <a:ext cx="475767" cy="448698"/>
              <a:chOff x="7099300" y="4503738"/>
              <a:chExt cx="725488" cy="684212"/>
            </a:xfrm>
            <a:solidFill>
              <a:srgbClr val="70AD47"/>
            </a:solidFill>
          </p:grpSpPr>
          <p:sp>
            <p:nvSpPr>
              <p:cNvPr id="697" name="Freeform 167">
                <a:extLst>
                  <a:ext uri="{FF2B5EF4-FFF2-40B4-BE49-F238E27FC236}">
                    <a16:creationId xmlns:a16="http://schemas.microsoft.com/office/drawing/2014/main" id="{4C0AA803-3A3F-44A8-A55B-0C2923F267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99300" y="4503738"/>
                <a:ext cx="666750" cy="568325"/>
              </a:xfrm>
              <a:custGeom>
                <a:avLst/>
                <a:gdLst>
                  <a:gd name="T0" fmla="*/ 69 w 936"/>
                  <a:gd name="T1" fmla="*/ 99 h 799"/>
                  <a:gd name="T2" fmla="*/ 131 w 936"/>
                  <a:gd name="T3" fmla="*/ 52 h 799"/>
                  <a:gd name="T4" fmla="*/ 138 w 936"/>
                  <a:gd name="T5" fmla="*/ 51 h 799"/>
                  <a:gd name="T6" fmla="*/ 142 w 936"/>
                  <a:gd name="T7" fmla="*/ 57 h 799"/>
                  <a:gd name="T8" fmla="*/ 142 w 936"/>
                  <a:gd name="T9" fmla="*/ 152 h 799"/>
                  <a:gd name="T10" fmla="*/ 138 w 936"/>
                  <a:gd name="T11" fmla="*/ 158 h 799"/>
                  <a:gd name="T12" fmla="*/ 131 w 936"/>
                  <a:gd name="T13" fmla="*/ 157 h 799"/>
                  <a:gd name="T14" fmla="*/ 69 w 936"/>
                  <a:gd name="T15" fmla="*/ 110 h 799"/>
                  <a:gd name="T16" fmla="*/ 66 w 936"/>
                  <a:gd name="T17" fmla="*/ 105 h 799"/>
                  <a:gd name="T18" fmla="*/ 69 w 936"/>
                  <a:gd name="T19" fmla="*/ 99 h 799"/>
                  <a:gd name="T20" fmla="*/ 197 w 936"/>
                  <a:gd name="T21" fmla="*/ 57 h 799"/>
                  <a:gd name="T22" fmla="*/ 201 w 936"/>
                  <a:gd name="T23" fmla="*/ 51 h 799"/>
                  <a:gd name="T24" fmla="*/ 207 w 936"/>
                  <a:gd name="T25" fmla="*/ 52 h 799"/>
                  <a:gd name="T26" fmla="*/ 270 w 936"/>
                  <a:gd name="T27" fmla="*/ 99 h 799"/>
                  <a:gd name="T28" fmla="*/ 272 w 936"/>
                  <a:gd name="T29" fmla="*/ 105 h 799"/>
                  <a:gd name="T30" fmla="*/ 270 w 936"/>
                  <a:gd name="T31" fmla="*/ 110 h 799"/>
                  <a:gd name="T32" fmla="*/ 207 w 936"/>
                  <a:gd name="T33" fmla="*/ 157 h 799"/>
                  <a:gd name="T34" fmla="*/ 201 w 936"/>
                  <a:gd name="T35" fmla="*/ 158 h 799"/>
                  <a:gd name="T36" fmla="*/ 197 w 936"/>
                  <a:gd name="T37" fmla="*/ 152 h 799"/>
                  <a:gd name="T38" fmla="*/ 197 w 936"/>
                  <a:gd name="T39" fmla="*/ 57 h 799"/>
                  <a:gd name="T40" fmla="*/ 46 w 936"/>
                  <a:gd name="T41" fmla="*/ 753 h 799"/>
                  <a:gd name="T42" fmla="*/ 46 w 936"/>
                  <a:gd name="T43" fmla="*/ 209 h 799"/>
                  <a:gd name="T44" fmla="*/ 890 w 936"/>
                  <a:gd name="T45" fmla="*/ 209 h 799"/>
                  <a:gd name="T46" fmla="*/ 890 w 936"/>
                  <a:gd name="T47" fmla="*/ 608 h 799"/>
                  <a:gd name="T48" fmla="*/ 936 w 936"/>
                  <a:gd name="T49" fmla="*/ 653 h 799"/>
                  <a:gd name="T50" fmla="*/ 936 w 936"/>
                  <a:gd name="T51" fmla="*/ 26 h 799"/>
                  <a:gd name="T52" fmla="*/ 910 w 936"/>
                  <a:gd name="T53" fmla="*/ 0 h 799"/>
                  <a:gd name="T54" fmla="*/ 25 w 936"/>
                  <a:gd name="T55" fmla="*/ 0 h 799"/>
                  <a:gd name="T56" fmla="*/ 0 w 936"/>
                  <a:gd name="T57" fmla="*/ 26 h 799"/>
                  <a:gd name="T58" fmla="*/ 0 w 936"/>
                  <a:gd name="T59" fmla="*/ 773 h 799"/>
                  <a:gd name="T60" fmla="*/ 25 w 936"/>
                  <a:gd name="T61" fmla="*/ 799 h 799"/>
                  <a:gd name="T62" fmla="*/ 746 w 936"/>
                  <a:gd name="T63" fmla="*/ 799 h 799"/>
                  <a:gd name="T64" fmla="*/ 754 w 936"/>
                  <a:gd name="T65" fmla="*/ 753 h 799"/>
                  <a:gd name="T66" fmla="*/ 46 w 936"/>
                  <a:gd name="T67" fmla="*/ 753 h 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36" h="799">
                    <a:moveTo>
                      <a:pt x="69" y="99"/>
                    </a:moveTo>
                    <a:lnTo>
                      <a:pt x="131" y="52"/>
                    </a:lnTo>
                    <a:cubicBezTo>
                      <a:pt x="133" y="50"/>
                      <a:pt x="136" y="50"/>
                      <a:pt x="138" y="51"/>
                    </a:cubicBezTo>
                    <a:cubicBezTo>
                      <a:pt x="140" y="52"/>
                      <a:pt x="142" y="55"/>
                      <a:pt x="142" y="57"/>
                    </a:cubicBezTo>
                    <a:lnTo>
                      <a:pt x="142" y="152"/>
                    </a:lnTo>
                    <a:cubicBezTo>
                      <a:pt x="142" y="155"/>
                      <a:pt x="140" y="157"/>
                      <a:pt x="138" y="158"/>
                    </a:cubicBezTo>
                    <a:cubicBezTo>
                      <a:pt x="136" y="159"/>
                      <a:pt x="133" y="159"/>
                      <a:pt x="131" y="157"/>
                    </a:cubicBezTo>
                    <a:lnTo>
                      <a:pt x="69" y="110"/>
                    </a:lnTo>
                    <a:cubicBezTo>
                      <a:pt x="67" y="109"/>
                      <a:pt x="66" y="107"/>
                      <a:pt x="66" y="105"/>
                    </a:cubicBezTo>
                    <a:cubicBezTo>
                      <a:pt x="66" y="103"/>
                      <a:pt x="67" y="101"/>
                      <a:pt x="69" y="99"/>
                    </a:cubicBezTo>
                    <a:close/>
                    <a:moveTo>
                      <a:pt x="197" y="57"/>
                    </a:moveTo>
                    <a:cubicBezTo>
                      <a:pt x="197" y="55"/>
                      <a:pt x="198" y="52"/>
                      <a:pt x="201" y="51"/>
                    </a:cubicBezTo>
                    <a:cubicBezTo>
                      <a:pt x="203" y="50"/>
                      <a:pt x="206" y="50"/>
                      <a:pt x="207" y="52"/>
                    </a:cubicBezTo>
                    <a:lnTo>
                      <a:pt x="270" y="99"/>
                    </a:lnTo>
                    <a:cubicBezTo>
                      <a:pt x="271" y="101"/>
                      <a:pt x="272" y="103"/>
                      <a:pt x="272" y="105"/>
                    </a:cubicBezTo>
                    <a:cubicBezTo>
                      <a:pt x="272" y="107"/>
                      <a:pt x="271" y="109"/>
                      <a:pt x="270" y="110"/>
                    </a:cubicBezTo>
                    <a:lnTo>
                      <a:pt x="207" y="157"/>
                    </a:lnTo>
                    <a:cubicBezTo>
                      <a:pt x="206" y="159"/>
                      <a:pt x="203" y="159"/>
                      <a:pt x="201" y="158"/>
                    </a:cubicBezTo>
                    <a:cubicBezTo>
                      <a:pt x="198" y="157"/>
                      <a:pt x="197" y="155"/>
                      <a:pt x="197" y="152"/>
                    </a:cubicBezTo>
                    <a:lnTo>
                      <a:pt x="197" y="57"/>
                    </a:lnTo>
                    <a:close/>
                    <a:moveTo>
                      <a:pt x="46" y="753"/>
                    </a:moveTo>
                    <a:lnTo>
                      <a:pt x="46" y="209"/>
                    </a:lnTo>
                    <a:lnTo>
                      <a:pt x="890" y="209"/>
                    </a:lnTo>
                    <a:lnTo>
                      <a:pt x="890" y="608"/>
                    </a:lnTo>
                    <a:lnTo>
                      <a:pt x="936" y="653"/>
                    </a:lnTo>
                    <a:lnTo>
                      <a:pt x="936" y="26"/>
                    </a:lnTo>
                    <a:cubicBezTo>
                      <a:pt x="936" y="12"/>
                      <a:pt x="924" y="0"/>
                      <a:pt x="910" y="0"/>
                    </a:cubicBezTo>
                    <a:lnTo>
                      <a:pt x="25" y="0"/>
                    </a:lnTo>
                    <a:cubicBezTo>
                      <a:pt x="11" y="0"/>
                      <a:pt x="0" y="12"/>
                      <a:pt x="0" y="26"/>
                    </a:cubicBezTo>
                    <a:lnTo>
                      <a:pt x="0" y="773"/>
                    </a:lnTo>
                    <a:cubicBezTo>
                      <a:pt x="0" y="787"/>
                      <a:pt x="11" y="799"/>
                      <a:pt x="25" y="799"/>
                    </a:cubicBezTo>
                    <a:lnTo>
                      <a:pt x="746" y="799"/>
                    </a:lnTo>
                    <a:lnTo>
                      <a:pt x="754" y="753"/>
                    </a:lnTo>
                    <a:lnTo>
                      <a:pt x="46" y="753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698" name="Rectangle 168">
                <a:extLst>
                  <a:ext uri="{FF2B5EF4-FFF2-40B4-BE49-F238E27FC236}">
                    <a16:creationId xmlns:a16="http://schemas.microsoft.com/office/drawing/2014/main" id="{D448D66F-0793-4744-977F-BA81BD7571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488" y="4711700"/>
                <a:ext cx="244475" cy="2698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699" name="Rectangle 169">
                <a:extLst>
                  <a:ext uri="{FF2B5EF4-FFF2-40B4-BE49-F238E27FC236}">
                    <a16:creationId xmlns:a16="http://schemas.microsoft.com/office/drawing/2014/main" id="{603EA346-2EDD-49E6-B5D3-BD6DE6A44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488" y="4792663"/>
                <a:ext cx="244475" cy="2698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0" name="Rectangle 170">
                <a:extLst>
                  <a:ext uri="{FF2B5EF4-FFF2-40B4-BE49-F238E27FC236}">
                    <a16:creationId xmlns:a16="http://schemas.microsoft.com/office/drawing/2014/main" id="{4A43C330-57B8-4C6B-A910-3AE2834C5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2488" y="4875213"/>
                <a:ext cx="244475" cy="254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1" name="Freeform 171">
                <a:extLst>
                  <a:ext uri="{FF2B5EF4-FFF2-40B4-BE49-F238E27FC236}">
                    <a16:creationId xmlns:a16="http://schemas.microsoft.com/office/drawing/2014/main" id="{37FE6DFD-C029-4981-BEE3-31DD08437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2488" y="4956175"/>
                <a:ext cx="449263" cy="25400"/>
              </a:xfrm>
              <a:custGeom>
                <a:avLst/>
                <a:gdLst>
                  <a:gd name="T0" fmla="*/ 0 w 283"/>
                  <a:gd name="T1" fmla="*/ 16 h 16"/>
                  <a:gd name="T2" fmla="*/ 280 w 283"/>
                  <a:gd name="T3" fmla="*/ 16 h 16"/>
                  <a:gd name="T4" fmla="*/ 283 w 283"/>
                  <a:gd name="T5" fmla="*/ 0 h 16"/>
                  <a:gd name="T6" fmla="*/ 0 w 283"/>
                  <a:gd name="T7" fmla="*/ 0 h 16"/>
                  <a:gd name="T8" fmla="*/ 0 w 283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16">
                    <a:moveTo>
                      <a:pt x="0" y="16"/>
                    </a:moveTo>
                    <a:lnTo>
                      <a:pt x="280" y="16"/>
                    </a:lnTo>
                    <a:lnTo>
                      <a:pt x="283" y="0"/>
                    </a:lnTo>
                    <a:lnTo>
                      <a:pt x="0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2" name="Freeform 172">
                <a:extLst>
                  <a:ext uri="{FF2B5EF4-FFF2-40B4-BE49-F238E27FC236}">
                    <a16:creationId xmlns:a16="http://schemas.microsoft.com/office/drawing/2014/main" id="{23880E65-57B0-4F61-B4C3-C58F54EA40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0" y="4930775"/>
                <a:ext cx="173038" cy="257175"/>
              </a:xfrm>
              <a:custGeom>
                <a:avLst/>
                <a:gdLst>
                  <a:gd name="T0" fmla="*/ 0 w 109"/>
                  <a:gd name="T1" fmla="*/ 122 h 162"/>
                  <a:gd name="T2" fmla="*/ 37 w 109"/>
                  <a:gd name="T3" fmla="*/ 100 h 162"/>
                  <a:gd name="T4" fmla="*/ 56 w 109"/>
                  <a:gd name="T5" fmla="*/ 162 h 162"/>
                  <a:gd name="T6" fmla="*/ 84 w 109"/>
                  <a:gd name="T7" fmla="*/ 153 h 162"/>
                  <a:gd name="T8" fmla="*/ 65 w 109"/>
                  <a:gd name="T9" fmla="*/ 91 h 162"/>
                  <a:gd name="T10" fmla="*/ 109 w 109"/>
                  <a:gd name="T11" fmla="*/ 87 h 162"/>
                  <a:gd name="T12" fmla="*/ 21 w 109"/>
                  <a:gd name="T13" fmla="*/ 0 h 162"/>
                  <a:gd name="T14" fmla="*/ 0 w 109"/>
                  <a:gd name="T15" fmla="*/ 12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9" h="162">
                    <a:moveTo>
                      <a:pt x="0" y="122"/>
                    </a:moveTo>
                    <a:lnTo>
                      <a:pt x="37" y="100"/>
                    </a:lnTo>
                    <a:lnTo>
                      <a:pt x="56" y="162"/>
                    </a:lnTo>
                    <a:lnTo>
                      <a:pt x="84" y="153"/>
                    </a:lnTo>
                    <a:lnTo>
                      <a:pt x="65" y="91"/>
                    </a:lnTo>
                    <a:lnTo>
                      <a:pt x="109" y="87"/>
                    </a:lnTo>
                    <a:lnTo>
                      <a:pt x="21" y="0"/>
                    </a:lnTo>
                    <a:lnTo>
                      <a:pt x="0" y="1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3" name="Rectangle 173">
                <a:extLst>
                  <a:ext uri="{FF2B5EF4-FFF2-40B4-BE49-F238E27FC236}">
                    <a16:creationId xmlns:a16="http://schemas.microsoft.com/office/drawing/2014/main" id="{B5AB51FF-1F9D-4862-95B2-23373C3A3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93000" y="4711700"/>
                <a:ext cx="168275" cy="18891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704" name="Code_implement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1070EAA-9010-4571-B3F9-DB3302FDC44B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206299" y="1950216"/>
              <a:ext cx="478922" cy="370825"/>
              <a:chOff x="7613650" y="384175"/>
              <a:chExt cx="1062038" cy="822326"/>
            </a:xfrm>
            <a:solidFill>
              <a:srgbClr val="A5A5A5"/>
            </a:solidFill>
          </p:grpSpPr>
          <p:sp>
            <p:nvSpPr>
              <p:cNvPr id="705" name="Freeform 261">
                <a:extLst>
                  <a:ext uri="{FF2B5EF4-FFF2-40B4-BE49-F238E27FC236}">
                    <a16:creationId xmlns:a16="http://schemas.microsoft.com/office/drawing/2014/main" id="{3EAC0C5C-88A7-41ED-B30F-0583F0F4E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3650" y="490538"/>
                <a:ext cx="330200" cy="463550"/>
              </a:xfrm>
              <a:custGeom>
                <a:avLst/>
                <a:gdLst>
                  <a:gd name="T0" fmla="*/ 0 w 208"/>
                  <a:gd name="T1" fmla="*/ 177 h 292"/>
                  <a:gd name="T2" fmla="*/ 208 w 208"/>
                  <a:gd name="T3" fmla="*/ 292 h 292"/>
                  <a:gd name="T4" fmla="*/ 208 w 208"/>
                  <a:gd name="T5" fmla="*/ 210 h 292"/>
                  <a:gd name="T6" fmla="*/ 84 w 208"/>
                  <a:gd name="T7" fmla="*/ 146 h 292"/>
                  <a:gd name="T8" fmla="*/ 208 w 208"/>
                  <a:gd name="T9" fmla="*/ 83 h 292"/>
                  <a:gd name="T10" fmla="*/ 208 w 208"/>
                  <a:gd name="T11" fmla="*/ 0 h 292"/>
                  <a:gd name="T12" fmla="*/ 0 w 208"/>
                  <a:gd name="T13" fmla="*/ 116 h 292"/>
                  <a:gd name="T14" fmla="*/ 0 w 208"/>
                  <a:gd name="T15" fmla="*/ 17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8" h="292">
                    <a:moveTo>
                      <a:pt x="0" y="177"/>
                    </a:moveTo>
                    <a:lnTo>
                      <a:pt x="208" y="292"/>
                    </a:lnTo>
                    <a:lnTo>
                      <a:pt x="208" y="210"/>
                    </a:lnTo>
                    <a:lnTo>
                      <a:pt x="84" y="146"/>
                    </a:lnTo>
                    <a:lnTo>
                      <a:pt x="208" y="83"/>
                    </a:lnTo>
                    <a:lnTo>
                      <a:pt x="208" y="0"/>
                    </a:lnTo>
                    <a:lnTo>
                      <a:pt x="0" y="116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6" name="Freeform 262">
                <a:extLst>
                  <a:ext uri="{FF2B5EF4-FFF2-40B4-BE49-F238E27FC236}">
                    <a16:creationId xmlns:a16="http://schemas.microsoft.com/office/drawing/2014/main" id="{A51F6092-E832-4EC8-89F9-B42FF2D46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4175" y="384175"/>
                <a:ext cx="225425" cy="590550"/>
              </a:xfrm>
              <a:custGeom>
                <a:avLst/>
                <a:gdLst>
                  <a:gd name="T0" fmla="*/ 77 w 142"/>
                  <a:gd name="T1" fmla="*/ 0 h 372"/>
                  <a:gd name="T2" fmla="*/ 0 w 142"/>
                  <a:gd name="T3" fmla="*/ 372 h 372"/>
                  <a:gd name="T4" fmla="*/ 66 w 142"/>
                  <a:gd name="T5" fmla="*/ 372 h 372"/>
                  <a:gd name="T6" fmla="*/ 142 w 142"/>
                  <a:gd name="T7" fmla="*/ 0 h 372"/>
                  <a:gd name="T8" fmla="*/ 77 w 142"/>
                  <a:gd name="T9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72">
                    <a:moveTo>
                      <a:pt x="77" y="0"/>
                    </a:moveTo>
                    <a:lnTo>
                      <a:pt x="0" y="372"/>
                    </a:lnTo>
                    <a:lnTo>
                      <a:pt x="66" y="372"/>
                    </a:lnTo>
                    <a:lnTo>
                      <a:pt x="142" y="0"/>
                    </a:lnTo>
                    <a:lnTo>
                      <a:pt x="7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7" name="Freeform 263">
                <a:extLst>
                  <a:ext uri="{FF2B5EF4-FFF2-40B4-BE49-F238E27FC236}">
                    <a16:creationId xmlns:a16="http://schemas.microsoft.com/office/drawing/2014/main" id="{DC36AC02-2DD8-41F8-831C-70247D475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490538"/>
                <a:ext cx="331788" cy="401638"/>
              </a:xfrm>
              <a:custGeom>
                <a:avLst/>
                <a:gdLst>
                  <a:gd name="T0" fmla="*/ 32 w 551"/>
                  <a:gd name="T1" fmla="*/ 619 h 666"/>
                  <a:gd name="T2" fmla="*/ 61 w 551"/>
                  <a:gd name="T3" fmla="*/ 613 h 666"/>
                  <a:gd name="T4" fmla="*/ 140 w 551"/>
                  <a:gd name="T5" fmla="*/ 653 h 666"/>
                  <a:gd name="T6" fmla="*/ 147 w 551"/>
                  <a:gd name="T7" fmla="*/ 666 h 666"/>
                  <a:gd name="T8" fmla="*/ 159 w 551"/>
                  <a:gd name="T9" fmla="*/ 656 h 666"/>
                  <a:gd name="T10" fmla="*/ 238 w 551"/>
                  <a:gd name="T11" fmla="*/ 640 h 666"/>
                  <a:gd name="T12" fmla="*/ 256 w 551"/>
                  <a:gd name="T13" fmla="*/ 630 h 666"/>
                  <a:gd name="T14" fmla="*/ 259 w 551"/>
                  <a:gd name="T15" fmla="*/ 569 h 666"/>
                  <a:gd name="T16" fmla="*/ 273 w 551"/>
                  <a:gd name="T17" fmla="*/ 542 h 666"/>
                  <a:gd name="T18" fmla="*/ 291 w 551"/>
                  <a:gd name="T19" fmla="*/ 516 h 666"/>
                  <a:gd name="T20" fmla="*/ 354 w 551"/>
                  <a:gd name="T21" fmla="*/ 486 h 666"/>
                  <a:gd name="T22" fmla="*/ 374 w 551"/>
                  <a:gd name="T23" fmla="*/ 489 h 666"/>
                  <a:gd name="T24" fmla="*/ 386 w 551"/>
                  <a:gd name="T25" fmla="*/ 492 h 666"/>
                  <a:gd name="T26" fmla="*/ 389 w 551"/>
                  <a:gd name="T27" fmla="*/ 490 h 666"/>
                  <a:gd name="T28" fmla="*/ 393 w 551"/>
                  <a:gd name="T29" fmla="*/ 479 h 666"/>
                  <a:gd name="T30" fmla="*/ 462 w 551"/>
                  <a:gd name="T31" fmla="*/ 424 h 666"/>
                  <a:gd name="T32" fmla="*/ 492 w 551"/>
                  <a:gd name="T33" fmla="*/ 424 h 666"/>
                  <a:gd name="T34" fmla="*/ 523 w 551"/>
                  <a:gd name="T35" fmla="*/ 426 h 666"/>
                  <a:gd name="T36" fmla="*/ 551 w 551"/>
                  <a:gd name="T37" fmla="*/ 436 h 666"/>
                  <a:gd name="T38" fmla="*/ 551 w 551"/>
                  <a:gd name="T39" fmla="*/ 300 h 666"/>
                  <a:gd name="T40" fmla="*/ 0 w 551"/>
                  <a:gd name="T41" fmla="*/ 0 h 666"/>
                  <a:gd name="T42" fmla="*/ 0 w 551"/>
                  <a:gd name="T43" fmla="*/ 217 h 666"/>
                  <a:gd name="T44" fmla="*/ 338 w 551"/>
                  <a:gd name="T45" fmla="*/ 385 h 666"/>
                  <a:gd name="T46" fmla="*/ 0 w 551"/>
                  <a:gd name="T47" fmla="*/ 552 h 666"/>
                  <a:gd name="T48" fmla="*/ 0 w 551"/>
                  <a:gd name="T49" fmla="*/ 628 h 666"/>
                  <a:gd name="T50" fmla="*/ 1 w 551"/>
                  <a:gd name="T51" fmla="*/ 628 h 666"/>
                  <a:gd name="T52" fmla="*/ 32 w 551"/>
                  <a:gd name="T53" fmla="*/ 619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1" h="666">
                    <a:moveTo>
                      <a:pt x="32" y="619"/>
                    </a:moveTo>
                    <a:cubicBezTo>
                      <a:pt x="41" y="617"/>
                      <a:pt x="51" y="615"/>
                      <a:pt x="61" y="613"/>
                    </a:cubicBezTo>
                    <a:cubicBezTo>
                      <a:pt x="91" y="609"/>
                      <a:pt x="124" y="626"/>
                      <a:pt x="140" y="653"/>
                    </a:cubicBezTo>
                    <a:lnTo>
                      <a:pt x="147" y="666"/>
                    </a:lnTo>
                    <a:lnTo>
                      <a:pt x="159" y="656"/>
                    </a:lnTo>
                    <a:cubicBezTo>
                      <a:pt x="179" y="637"/>
                      <a:pt x="212" y="631"/>
                      <a:pt x="238" y="640"/>
                    </a:cubicBezTo>
                    <a:lnTo>
                      <a:pt x="256" y="630"/>
                    </a:lnTo>
                    <a:cubicBezTo>
                      <a:pt x="249" y="610"/>
                      <a:pt x="249" y="588"/>
                      <a:pt x="259" y="569"/>
                    </a:cubicBezTo>
                    <a:cubicBezTo>
                      <a:pt x="263" y="559"/>
                      <a:pt x="268" y="550"/>
                      <a:pt x="273" y="542"/>
                    </a:cubicBezTo>
                    <a:cubicBezTo>
                      <a:pt x="278" y="533"/>
                      <a:pt x="285" y="525"/>
                      <a:pt x="291" y="516"/>
                    </a:cubicBezTo>
                    <a:cubicBezTo>
                      <a:pt x="305" y="498"/>
                      <a:pt x="329" y="486"/>
                      <a:pt x="354" y="486"/>
                    </a:cubicBezTo>
                    <a:cubicBezTo>
                      <a:pt x="361" y="486"/>
                      <a:pt x="368" y="487"/>
                      <a:pt x="374" y="489"/>
                    </a:cubicBezTo>
                    <a:lnTo>
                      <a:pt x="386" y="492"/>
                    </a:lnTo>
                    <a:cubicBezTo>
                      <a:pt x="387" y="491"/>
                      <a:pt x="388" y="491"/>
                      <a:pt x="389" y="490"/>
                    </a:cubicBezTo>
                    <a:lnTo>
                      <a:pt x="393" y="479"/>
                    </a:lnTo>
                    <a:cubicBezTo>
                      <a:pt x="403" y="449"/>
                      <a:pt x="431" y="426"/>
                      <a:pt x="462" y="424"/>
                    </a:cubicBezTo>
                    <a:cubicBezTo>
                      <a:pt x="472" y="424"/>
                      <a:pt x="482" y="423"/>
                      <a:pt x="492" y="424"/>
                    </a:cubicBezTo>
                    <a:cubicBezTo>
                      <a:pt x="502" y="424"/>
                      <a:pt x="513" y="425"/>
                      <a:pt x="523" y="426"/>
                    </a:cubicBezTo>
                    <a:cubicBezTo>
                      <a:pt x="533" y="428"/>
                      <a:pt x="542" y="431"/>
                      <a:pt x="551" y="436"/>
                    </a:cubicBezTo>
                    <a:lnTo>
                      <a:pt x="551" y="300"/>
                    </a:lnTo>
                    <a:lnTo>
                      <a:pt x="0" y="0"/>
                    </a:lnTo>
                    <a:lnTo>
                      <a:pt x="0" y="217"/>
                    </a:lnTo>
                    <a:lnTo>
                      <a:pt x="338" y="385"/>
                    </a:lnTo>
                    <a:lnTo>
                      <a:pt x="0" y="552"/>
                    </a:lnTo>
                    <a:lnTo>
                      <a:pt x="0" y="628"/>
                    </a:lnTo>
                    <a:cubicBezTo>
                      <a:pt x="1" y="628"/>
                      <a:pt x="1" y="628"/>
                      <a:pt x="1" y="628"/>
                    </a:cubicBezTo>
                    <a:cubicBezTo>
                      <a:pt x="12" y="624"/>
                      <a:pt x="22" y="621"/>
                      <a:pt x="32" y="6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8" name="Freeform 264">
                <a:extLst>
                  <a:ext uri="{FF2B5EF4-FFF2-40B4-BE49-F238E27FC236}">
                    <a16:creationId xmlns:a16="http://schemas.microsoft.com/office/drawing/2014/main" id="{B9DB82EB-C825-4EB6-9150-47F7A049C9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1975" y="893763"/>
                <a:ext cx="312738" cy="312738"/>
              </a:xfrm>
              <a:custGeom>
                <a:avLst/>
                <a:gdLst>
                  <a:gd name="T0" fmla="*/ 349 w 518"/>
                  <a:gd name="T1" fmla="*/ 316 h 518"/>
                  <a:gd name="T2" fmla="*/ 203 w 518"/>
                  <a:gd name="T3" fmla="*/ 351 h 518"/>
                  <a:gd name="T4" fmla="*/ 168 w 518"/>
                  <a:gd name="T5" fmla="*/ 204 h 518"/>
                  <a:gd name="T6" fmla="*/ 362 w 518"/>
                  <a:gd name="T7" fmla="*/ 286 h 518"/>
                  <a:gd name="T8" fmla="*/ 506 w 518"/>
                  <a:gd name="T9" fmla="*/ 176 h 518"/>
                  <a:gd name="T10" fmla="*/ 504 w 518"/>
                  <a:gd name="T11" fmla="*/ 172 h 518"/>
                  <a:gd name="T12" fmla="*/ 501 w 518"/>
                  <a:gd name="T13" fmla="*/ 169 h 518"/>
                  <a:gd name="T14" fmla="*/ 487 w 518"/>
                  <a:gd name="T15" fmla="*/ 163 h 518"/>
                  <a:gd name="T16" fmla="*/ 446 w 518"/>
                  <a:gd name="T17" fmla="*/ 159 h 518"/>
                  <a:gd name="T18" fmla="*/ 419 w 518"/>
                  <a:gd name="T19" fmla="*/ 130 h 518"/>
                  <a:gd name="T20" fmla="*/ 414 w 518"/>
                  <a:gd name="T21" fmla="*/ 106 h 518"/>
                  <a:gd name="T22" fmla="*/ 416 w 518"/>
                  <a:gd name="T23" fmla="*/ 52 h 518"/>
                  <a:gd name="T24" fmla="*/ 395 w 518"/>
                  <a:gd name="T25" fmla="*/ 37 h 518"/>
                  <a:gd name="T26" fmla="*/ 352 w 518"/>
                  <a:gd name="T27" fmla="*/ 29 h 518"/>
                  <a:gd name="T28" fmla="*/ 302 w 518"/>
                  <a:gd name="T29" fmla="*/ 58 h 518"/>
                  <a:gd name="T30" fmla="*/ 260 w 518"/>
                  <a:gd name="T31" fmla="*/ 42 h 518"/>
                  <a:gd name="T32" fmla="*/ 243 w 518"/>
                  <a:gd name="T33" fmla="*/ 12 h 518"/>
                  <a:gd name="T34" fmla="*/ 199 w 518"/>
                  <a:gd name="T35" fmla="*/ 6 h 518"/>
                  <a:gd name="T36" fmla="*/ 162 w 518"/>
                  <a:gd name="T37" fmla="*/ 31 h 518"/>
                  <a:gd name="T38" fmla="*/ 154 w 518"/>
                  <a:gd name="T39" fmla="*/ 79 h 518"/>
                  <a:gd name="T40" fmla="*/ 129 w 518"/>
                  <a:gd name="T41" fmla="*/ 99 h 518"/>
                  <a:gd name="T42" fmla="*/ 73 w 518"/>
                  <a:gd name="T43" fmla="*/ 95 h 518"/>
                  <a:gd name="T44" fmla="*/ 37 w 518"/>
                  <a:gd name="T45" fmla="*/ 123 h 518"/>
                  <a:gd name="T46" fmla="*/ 29 w 518"/>
                  <a:gd name="T47" fmla="*/ 167 h 518"/>
                  <a:gd name="T48" fmla="*/ 59 w 518"/>
                  <a:gd name="T49" fmla="*/ 207 h 518"/>
                  <a:gd name="T50" fmla="*/ 53 w 518"/>
                  <a:gd name="T51" fmla="*/ 238 h 518"/>
                  <a:gd name="T52" fmla="*/ 11 w 518"/>
                  <a:gd name="T53" fmla="*/ 275 h 518"/>
                  <a:gd name="T54" fmla="*/ 5 w 518"/>
                  <a:gd name="T55" fmla="*/ 319 h 518"/>
                  <a:gd name="T56" fmla="*/ 12 w 518"/>
                  <a:gd name="T57" fmla="*/ 343 h 518"/>
                  <a:gd name="T58" fmla="*/ 14 w 518"/>
                  <a:gd name="T59" fmla="*/ 348 h 518"/>
                  <a:gd name="T60" fmla="*/ 31 w 518"/>
                  <a:gd name="T61" fmla="*/ 357 h 518"/>
                  <a:gd name="T62" fmla="*/ 84 w 518"/>
                  <a:gd name="T63" fmla="*/ 371 h 518"/>
                  <a:gd name="T64" fmla="*/ 103 w 518"/>
                  <a:gd name="T65" fmla="*/ 414 h 518"/>
                  <a:gd name="T66" fmla="*/ 102 w 518"/>
                  <a:gd name="T67" fmla="*/ 468 h 518"/>
                  <a:gd name="T68" fmla="*/ 143 w 518"/>
                  <a:gd name="T69" fmla="*/ 493 h 518"/>
                  <a:gd name="T70" fmla="*/ 190 w 518"/>
                  <a:gd name="T71" fmla="*/ 468 h 518"/>
                  <a:gd name="T72" fmla="*/ 238 w 518"/>
                  <a:gd name="T73" fmla="*/ 466 h 518"/>
                  <a:gd name="T74" fmla="*/ 274 w 518"/>
                  <a:gd name="T75" fmla="*/ 507 h 518"/>
                  <a:gd name="T76" fmla="*/ 319 w 518"/>
                  <a:gd name="T77" fmla="*/ 513 h 518"/>
                  <a:gd name="T78" fmla="*/ 356 w 518"/>
                  <a:gd name="T79" fmla="*/ 488 h 518"/>
                  <a:gd name="T80" fmla="*/ 370 w 518"/>
                  <a:gd name="T81" fmla="*/ 435 h 518"/>
                  <a:gd name="T82" fmla="*/ 413 w 518"/>
                  <a:gd name="T83" fmla="*/ 415 h 518"/>
                  <a:gd name="T84" fmla="*/ 467 w 518"/>
                  <a:gd name="T85" fmla="*/ 417 h 518"/>
                  <a:gd name="T86" fmla="*/ 492 w 518"/>
                  <a:gd name="T87" fmla="*/ 375 h 518"/>
                  <a:gd name="T88" fmla="*/ 467 w 518"/>
                  <a:gd name="T89" fmla="*/ 328 h 518"/>
                  <a:gd name="T90" fmla="*/ 460 w 518"/>
                  <a:gd name="T91" fmla="*/ 309 h 518"/>
                  <a:gd name="T92" fmla="*/ 478 w 518"/>
                  <a:gd name="T93" fmla="*/ 261 h 518"/>
                  <a:gd name="T94" fmla="*/ 517 w 518"/>
                  <a:gd name="T95" fmla="*/ 224 h 518"/>
                  <a:gd name="T96" fmla="*/ 507 w 518"/>
                  <a:gd name="T97" fmla="*/ 18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8" h="518">
                    <a:moveTo>
                      <a:pt x="362" y="286"/>
                    </a:moveTo>
                    <a:cubicBezTo>
                      <a:pt x="360" y="296"/>
                      <a:pt x="355" y="307"/>
                      <a:pt x="349" y="316"/>
                    </a:cubicBezTo>
                    <a:cubicBezTo>
                      <a:pt x="334" y="341"/>
                      <a:pt x="311" y="358"/>
                      <a:pt x="283" y="364"/>
                    </a:cubicBezTo>
                    <a:cubicBezTo>
                      <a:pt x="256" y="371"/>
                      <a:pt x="227" y="366"/>
                      <a:pt x="203" y="351"/>
                    </a:cubicBezTo>
                    <a:cubicBezTo>
                      <a:pt x="163" y="327"/>
                      <a:pt x="144" y="280"/>
                      <a:pt x="155" y="235"/>
                    </a:cubicBezTo>
                    <a:cubicBezTo>
                      <a:pt x="158" y="224"/>
                      <a:pt x="162" y="214"/>
                      <a:pt x="168" y="204"/>
                    </a:cubicBezTo>
                    <a:cubicBezTo>
                      <a:pt x="199" y="154"/>
                      <a:pt x="265" y="139"/>
                      <a:pt x="315" y="170"/>
                    </a:cubicBezTo>
                    <a:cubicBezTo>
                      <a:pt x="354" y="194"/>
                      <a:pt x="373" y="241"/>
                      <a:pt x="362" y="286"/>
                    </a:cubicBezTo>
                    <a:close/>
                    <a:moveTo>
                      <a:pt x="507" y="180"/>
                    </a:moveTo>
                    <a:cubicBezTo>
                      <a:pt x="507" y="179"/>
                      <a:pt x="506" y="178"/>
                      <a:pt x="506" y="176"/>
                    </a:cubicBezTo>
                    <a:cubicBezTo>
                      <a:pt x="505" y="175"/>
                      <a:pt x="505" y="174"/>
                      <a:pt x="505" y="174"/>
                    </a:cubicBezTo>
                    <a:cubicBezTo>
                      <a:pt x="504" y="173"/>
                      <a:pt x="504" y="172"/>
                      <a:pt x="504" y="172"/>
                    </a:cubicBezTo>
                    <a:cubicBezTo>
                      <a:pt x="503" y="172"/>
                      <a:pt x="503" y="171"/>
                      <a:pt x="503" y="171"/>
                    </a:cubicBezTo>
                    <a:cubicBezTo>
                      <a:pt x="503" y="171"/>
                      <a:pt x="502" y="170"/>
                      <a:pt x="501" y="169"/>
                    </a:cubicBezTo>
                    <a:lnTo>
                      <a:pt x="501" y="169"/>
                    </a:lnTo>
                    <a:cubicBezTo>
                      <a:pt x="497" y="165"/>
                      <a:pt x="492" y="163"/>
                      <a:pt x="487" y="163"/>
                    </a:cubicBezTo>
                    <a:lnTo>
                      <a:pt x="453" y="161"/>
                    </a:lnTo>
                    <a:cubicBezTo>
                      <a:pt x="451" y="160"/>
                      <a:pt x="448" y="160"/>
                      <a:pt x="446" y="159"/>
                    </a:cubicBezTo>
                    <a:cubicBezTo>
                      <a:pt x="440" y="156"/>
                      <a:pt x="435" y="152"/>
                      <a:pt x="433" y="148"/>
                    </a:cubicBezTo>
                    <a:cubicBezTo>
                      <a:pt x="429" y="142"/>
                      <a:pt x="424" y="136"/>
                      <a:pt x="419" y="130"/>
                    </a:cubicBezTo>
                    <a:cubicBezTo>
                      <a:pt x="415" y="125"/>
                      <a:pt x="413" y="115"/>
                      <a:pt x="414" y="108"/>
                    </a:cubicBezTo>
                    <a:cubicBezTo>
                      <a:pt x="414" y="108"/>
                      <a:pt x="414" y="107"/>
                      <a:pt x="414" y="106"/>
                    </a:cubicBezTo>
                    <a:lnTo>
                      <a:pt x="423" y="74"/>
                    </a:lnTo>
                    <a:cubicBezTo>
                      <a:pt x="425" y="66"/>
                      <a:pt x="422" y="56"/>
                      <a:pt x="416" y="52"/>
                    </a:cubicBezTo>
                    <a:cubicBezTo>
                      <a:pt x="412" y="49"/>
                      <a:pt x="408" y="46"/>
                      <a:pt x="404" y="44"/>
                    </a:cubicBezTo>
                    <a:cubicBezTo>
                      <a:pt x="401" y="41"/>
                      <a:pt x="398" y="39"/>
                      <a:pt x="395" y="37"/>
                    </a:cubicBezTo>
                    <a:cubicBezTo>
                      <a:pt x="388" y="33"/>
                      <a:pt x="381" y="29"/>
                      <a:pt x="374" y="26"/>
                    </a:cubicBezTo>
                    <a:cubicBezTo>
                      <a:pt x="368" y="23"/>
                      <a:pt x="357" y="24"/>
                      <a:pt x="352" y="29"/>
                    </a:cubicBezTo>
                    <a:lnTo>
                      <a:pt x="326" y="52"/>
                    </a:lnTo>
                    <a:cubicBezTo>
                      <a:pt x="320" y="57"/>
                      <a:pt x="310" y="60"/>
                      <a:pt x="302" y="58"/>
                    </a:cubicBezTo>
                    <a:cubicBezTo>
                      <a:pt x="295" y="57"/>
                      <a:pt x="288" y="55"/>
                      <a:pt x="281" y="55"/>
                    </a:cubicBezTo>
                    <a:cubicBezTo>
                      <a:pt x="273" y="54"/>
                      <a:pt x="264" y="48"/>
                      <a:pt x="260" y="42"/>
                    </a:cubicBezTo>
                    <a:cubicBezTo>
                      <a:pt x="260" y="42"/>
                      <a:pt x="260" y="42"/>
                      <a:pt x="260" y="42"/>
                    </a:cubicBezTo>
                    <a:lnTo>
                      <a:pt x="243" y="12"/>
                    </a:lnTo>
                    <a:cubicBezTo>
                      <a:pt x="239" y="5"/>
                      <a:pt x="230" y="0"/>
                      <a:pt x="223" y="1"/>
                    </a:cubicBezTo>
                    <a:cubicBezTo>
                      <a:pt x="215" y="2"/>
                      <a:pt x="207" y="4"/>
                      <a:pt x="199" y="6"/>
                    </a:cubicBezTo>
                    <a:cubicBezTo>
                      <a:pt x="191" y="7"/>
                      <a:pt x="183" y="10"/>
                      <a:pt x="175" y="13"/>
                    </a:cubicBezTo>
                    <a:cubicBezTo>
                      <a:pt x="168" y="15"/>
                      <a:pt x="162" y="24"/>
                      <a:pt x="162" y="31"/>
                    </a:cubicBezTo>
                    <a:lnTo>
                      <a:pt x="160" y="66"/>
                    </a:lnTo>
                    <a:cubicBezTo>
                      <a:pt x="159" y="70"/>
                      <a:pt x="157" y="75"/>
                      <a:pt x="154" y="79"/>
                    </a:cubicBezTo>
                    <a:cubicBezTo>
                      <a:pt x="152" y="82"/>
                      <a:pt x="150" y="85"/>
                      <a:pt x="147" y="86"/>
                    </a:cubicBezTo>
                    <a:cubicBezTo>
                      <a:pt x="141" y="90"/>
                      <a:pt x="135" y="94"/>
                      <a:pt x="129" y="99"/>
                    </a:cubicBezTo>
                    <a:cubicBezTo>
                      <a:pt x="123" y="104"/>
                      <a:pt x="113" y="106"/>
                      <a:pt x="106" y="104"/>
                    </a:cubicBezTo>
                    <a:lnTo>
                      <a:pt x="73" y="95"/>
                    </a:lnTo>
                    <a:cubicBezTo>
                      <a:pt x="66" y="93"/>
                      <a:pt x="56" y="96"/>
                      <a:pt x="51" y="102"/>
                    </a:cubicBezTo>
                    <a:cubicBezTo>
                      <a:pt x="46" y="109"/>
                      <a:pt x="41" y="116"/>
                      <a:pt x="37" y="123"/>
                    </a:cubicBezTo>
                    <a:cubicBezTo>
                      <a:pt x="32" y="130"/>
                      <a:pt x="29" y="137"/>
                      <a:pt x="25" y="144"/>
                    </a:cubicBezTo>
                    <a:cubicBezTo>
                      <a:pt x="22" y="151"/>
                      <a:pt x="24" y="161"/>
                      <a:pt x="29" y="167"/>
                    </a:cubicBezTo>
                    <a:lnTo>
                      <a:pt x="51" y="192"/>
                    </a:lnTo>
                    <a:cubicBezTo>
                      <a:pt x="56" y="198"/>
                      <a:pt x="60" y="204"/>
                      <a:pt x="59" y="207"/>
                    </a:cubicBezTo>
                    <a:cubicBezTo>
                      <a:pt x="58" y="208"/>
                      <a:pt x="58" y="210"/>
                      <a:pt x="58" y="212"/>
                    </a:cubicBezTo>
                    <a:cubicBezTo>
                      <a:pt x="55" y="220"/>
                      <a:pt x="54" y="229"/>
                      <a:pt x="53" y="238"/>
                    </a:cubicBezTo>
                    <a:cubicBezTo>
                      <a:pt x="52" y="245"/>
                      <a:pt x="47" y="255"/>
                      <a:pt x="40" y="258"/>
                    </a:cubicBezTo>
                    <a:lnTo>
                      <a:pt x="11" y="275"/>
                    </a:lnTo>
                    <a:cubicBezTo>
                      <a:pt x="4" y="279"/>
                      <a:pt x="0" y="288"/>
                      <a:pt x="1" y="295"/>
                    </a:cubicBezTo>
                    <a:cubicBezTo>
                      <a:pt x="2" y="303"/>
                      <a:pt x="3" y="311"/>
                      <a:pt x="5" y="319"/>
                    </a:cubicBezTo>
                    <a:cubicBezTo>
                      <a:pt x="6" y="325"/>
                      <a:pt x="8" y="331"/>
                      <a:pt x="10" y="337"/>
                    </a:cubicBezTo>
                    <a:cubicBezTo>
                      <a:pt x="11" y="339"/>
                      <a:pt x="11" y="341"/>
                      <a:pt x="12" y="343"/>
                    </a:cubicBezTo>
                    <a:cubicBezTo>
                      <a:pt x="12" y="344"/>
                      <a:pt x="13" y="345"/>
                      <a:pt x="13" y="346"/>
                    </a:cubicBezTo>
                    <a:cubicBezTo>
                      <a:pt x="14" y="346"/>
                      <a:pt x="14" y="347"/>
                      <a:pt x="14" y="348"/>
                    </a:cubicBezTo>
                    <a:cubicBezTo>
                      <a:pt x="15" y="348"/>
                      <a:pt x="15" y="348"/>
                      <a:pt x="15" y="348"/>
                    </a:cubicBezTo>
                    <a:cubicBezTo>
                      <a:pt x="19" y="353"/>
                      <a:pt x="25" y="356"/>
                      <a:pt x="31" y="357"/>
                    </a:cubicBezTo>
                    <a:lnTo>
                      <a:pt x="63" y="358"/>
                    </a:lnTo>
                    <a:cubicBezTo>
                      <a:pt x="71" y="359"/>
                      <a:pt x="80" y="365"/>
                      <a:pt x="84" y="371"/>
                    </a:cubicBezTo>
                    <a:cubicBezTo>
                      <a:pt x="88" y="378"/>
                      <a:pt x="93" y="384"/>
                      <a:pt x="98" y="390"/>
                    </a:cubicBezTo>
                    <a:cubicBezTo>
                      <a:pt x="102" y="396"/>
                      <a:pt x="105" y="407"/>
                      <a:pt x="103" y="414"/>
                    </a:cubicBezTo>
                    <a:lnTo>
                      <a:pt x="94" y="446"/>
                    </a:lnTo>
                    <a:cubicBezTo>
                      <a:pt x="93" y="453"/>
                      <a:pt x="96" y="463"/>
                      <a:pt x="102" y="468"/>
                    </a:cubicBezTo>
                    <a:cubicBezTo>
                      <a:pt x="108" y="472"/>
                      <a:pt x="114" y="477"/>
                      <a:pt x="121" y="481"/>
                    </a:cubicBezTo>
                    <a:cubicBezTo>
                      <a:pt x="128" y="485"/>
                      <a:pt x="136" y="490"/>
                      <a:pt x="143" y="493"/>
                    </a:cubicBezTo>
                    <a:cubicBezTo>
                      <a:pt x="150" y="496"/>
                      <a:pt x="160" y="495"/>
                      <a:pt x="166" y="490"/>
                    </a:cubicBezTo>
                    <a:lnTo>
                      <a:pt x="190" y="468"/>
                    </a:lnTo>
                    <a:cubicBezTo>
                      <a:pt x="196" y="463"/>
                      <a:pt x="206" y="461"/>
                      <a:pt x="214" y="463"/>
                    </a:cubicBezTo>
                    <a:cubicBezTo>
                      <a:pt x="221" y="464"/>
                      <a:pt x="229" y="466"/>
                      <a:pt x="238" y="466"/>
                    </a:cubicBezTo>
                    <a:cubicBezTo>
                      <a:pt x="245" y="467"/>
                      <a:pt x="254" y="473"/>
                      <a:pt x="258" y="479"/>
                    </a:cubicBezTo>
                    <a:lnTo>
                      <a:pt x="274" y="507"/>
                    </a:lnTo>
                    <a:cubicBezTo>
                      <a:pt x="278" y="514"/>
                      <a:pt x="287" y="518"/>
                      <a:pt x="294" y="518"/>
                    </a:cubicBezTo>
                    <a:cubicBezTo>
                      <a:pt x="303" y="517"/>
                      <a:pt x="311" y="515"/>
                      <a:pt x="319" y="513"/>
                    </a:cubicBezTo>
                    <a:cubicBezTo>
                      <a:pt x="327" y="511"/>
                      <a:pt x="335" y="509"/>
                      <a:pt x="342" y="506"/>
                    </a:cubicBezTo>
                    <a:cubicBezTo>
                      <a:pt x="349" y="504"/>
                      <a:pt x="355" y="496"/>
                      <a:pt x="356" y="488"/>
                    </a:cubicBezTo>
                    <a:lnTo>
                      <a:pt x="358" y="456"/>
                    </a:lnTo>
                    <a:cubicBezTo>
                      <a:pt x="358" y="448"/>
                      <a:pt x="364" y="439"/>
                      <a:pt x="370" y="435"/>
                    </a:cubicBezTo>
                    <a:cubicBezTo>
                      <a:pt x="377" y="431"/>
                      <a:pt x="384" y="426"/>
                      <a:pt x="390" y="421"/>
                    </a:cubicBezTo>
                    <a:cubicBezTo>
                      <a:pt x="396" y="416"/>
                      <a:pt x="406" y="413"/>
                      <a:pt x="413" y="415"/>
                    </a:cubicBezTo>
                    <a:lnTo>
                      <a:pt x="445" y="424"/>
                    </a:lnTo>
                    <a:cubicBezTo>
                      <a:pt x="452" y="426"/>
                      <a:pt x="462" y="423"/>
                      <a:pt x="467" y="417"/>
                    </a:cubicBezTo>
                    <a:cubicBezTo>
                      <a:pt x="472" y="411"/>
                      <a:pt x="476" y="404"/>
                      <a:pt x="480" y="397"/>
                    </a:cubicBezTo>
                    <a:cubicBezTo>
                      <a:pt x="485" y="390"/>
                      <a:pt x="489" y="383"/>
                      <a:pt x="492" y="375"/>
                    </a:cubicBezTo>
                    <a:cubicBezTo>
                      <a:pt x="496" y="368"/>
                      <a:pt x="494" y="358"/>
                      <a:pt x="489" y="352"/>
                    </a:cubicBezTo>
                    <a:lnTo>
                      <a:pt x="467" y="328"/>
                    </a:lnTo>
                    <a:cubicBezTo>
                      <a:pt x="462" y="322"/>
                      <a:pt x="458" y="316"/>
                      <a:pt x="459" y="313"/>
                    </a:cubicBezTo>
                    <a:cubicBezTo>
                      <a:pt x="459" y="312"/>
                      <a:pt x="460" y="311"/>
                      <a:pt x="460" y="309"/>
                    </a:cubicBezTo>
                    <a:cubicBezTo>
                      <a:pt x="462" y="300"/>
                      <a:pt x="464" y="291"/>
                      <a:pt x="465" y="281"/>
                    </a:cubicBezTo>
                    <a:cubicBezTo>
                      <a:pt x="465" y="274"/>
                      <a:pt x="471" y="264"/>
                      <a:pt x="478" y="261"/>
                    </a:cubicBezTo>
                    <a:lnTo>
                      <a:pt x="506" y="244"/>
                    </a:lnTo>
                    <a:cubicBezTo>
                      <a:pt x="513" y="240"/>
                      <a:pt x="518" y="231"/>
                      <a:pt x="517" y="224"/>
                    </a:cubicBezTo>
                    <a:cubicBezTo>
                      <a:pt x="516" y="215"/>
                      <a:pt x="514" y="207"/>
                      <a:pt x="512" y="199"/>
                    </a:cubicBezTo>
                    <a:cubicBezTo>
                      <a:pt x="511" y="193"/>
                      <a:pt x="509" y="187"/>
                      <a:pt x="507" y="18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09" name="Freeform 265">
                <a:extLst>
                  <a:ext uri="{FF2B5EF4-FFF2-40B4-BE49-F238E27FC236}">
                    <a16:creationId xmlns:a16="http://schemas.microsoft.com/office/drawing/2014/main" id="{4F454DB2-45E4-49E7-B28C-8CB89AFCAF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9788" y="781050"/>
                <a:ext cx="215900" cy="230188"/>
              </a:xfrm>
              <a:custGeom>
                <a:avLst/>
                <a:gdLst>
                  <a:gd name="T0" fmla="*/ 237 w 360"/>
                  <a:gd name="T1" fmla="*/ 226 h 382"/>
                  <a:gd name="T2" fmla="*/ 111 w 360"/>
                  <a:gd name="T3" fmla="*/ 174 h 382"/>
                  <a:gd name="T4" fmla="*/ 162 w 360"/>
                  <a:gd name="T5" fmla="*/ 123 h 382"/>
                  <a:gd name="T6" fmla="*/ 246 w 360"/>
                  <a:gd name="T7" fmla="*/ 206 h 382"/>
                  <a:gd name="T8" fmla="*/ 325 w 360"/>
                  <a:gd name="T9" fmla="*/ 203 h 382"/>
                  <a:gd name="T10" fmla="*/ 334 w 360"/>
                  <a:gd name="T11" fmla="*/ 164 h 382"/>
                  <a:gd name="T12" fmla="*/ 358 w 360"/>
                  <a:gd name="T13" fmla="*/ 123 h 382"/>
                  <a:gd name="T14" fmla="*/ 335 w 360"/>
                  <a:gd name="T15" fmla="*/ 79 h 382"/>
                  <a:gd name="T16" fmla="*/ 332 w 360"/>
                  <a:gd name="T17" fmla="*/ 77 h 382"/>
                  <a:gd name="T18" fmla="*/ 330 w 360"/>
                  <a:gd name="T19" fmla="*/ 75 h 382"/>
                  <a:gd name="T20" fmla="*/ 313 w 360"/>
                  <a:gd name="T21" fmla="*/ 71 h 382"/>
                  <a:gd name="T22" fmla="*/ 265 w 360"/>
                  <a:gd name="T23" fmla="*/ 72 h 382"/>
                  <a:gd name="T24" fmla="*/ 246 w 360"/>
                  <a:gd name="T25" fmla="*/ 60 h 382"/>
                  <a:gd name="T26" fmla="*/ 226 w 360"/>
                  <a:gd name="T27" fmla="*/ 18 h 382"/>
                  <a:gd name="T28" fmla="*/ 209 w 360"/>
                  <a:gd name="T29" fmla="*/ 2 h 382"/>
                  <a:gd name="T30" fmla="*/ 160 w 360"/>
                  <a:gd name="T31" fmla="*/ 0 h 382"/>
                  <a:gd name="T32" fmla="*/ 135 w 360"/>
                  <a:gd name="T33" fmla="*/ 38 h 382"/>
                  <a:gd name="T34" fmla="*/ 101 w 360"/>
                  <a:gd name="T35" fmla="*/ 65 h 382"/>
                  <a:gd name="T36" fmla="*/ 53 w 360"/>
                  <a:gd name="T37" fmla="*/ 63 h 382"/>
                  <a:gd name="T38" fmla="*/ 17 w 360"/>
                  <a:gd name="T39" fmla="*/ 91 h 382"/>
                  <a:gd name="T40" fmla="*/ 4 w 360"/>
                  <a:gd name="T41" fmla="*/ 119 h 382"/>
                  <a:gd name="T42" fmla="*/ 25 w 360"/>
                  <a:gd name="T43" fmla="*/ 153 h 382"/>
                  <a:gd name="T44" fmla="*/ 32 w 360"/>
                  <a:gd name="T45" fmla="*/ 196 h 382"/>
                  <a:gd name="T46" fmla="*/ 16 w 360"/>
                  <a:gd name="T47" fmla="*/ 226 h 382"/>
                  <a:gd name="T48" fmla="*/ 0 w 360"/>
                  <a:gd name="T49" fmla="*/ 249 h 382"/>
                  <a:gd name="T50" fmla="*/ 0 w 360"/>
                  <a:gd name="T51" fmla="*/ 252 h 382"/>
                  <a:gd name="T52" fmla="*/ 0 w 360"/>
                  <a:gd name="T53" fmla="*/ 255 h 382"/>
                  <a:gd name="T54" fmla="*/ 1 w 360"/>
                  <a:gd name="T55" fmla="*/ 259 h 382"/>
                  <a:gd name="T56" fmla="*/ 16 w 360"/>
                  <a:gd name="T57" fmla="*/ 289 h 382"/>
                  <a:gd name="T58" fmla="*/ 24 w 360"/>
                  <a:gd name="T59" fmla="*/ 302 h 382"/>
                  <a:gd name="T60" fmla="*/ 27 w 360"/>
                  <a:gd name="T61" fmla="*/ 305 h 382"/>
                  <a:gd name="T62" fmla="*/ 30 w 360"/>
                  <a:gd name="T63" fmla="*/ 307 h 382"/>
                  <a:gd name="T64" fmla="*/ 37 w 360"/>
                  <a:gd name="T65" fmla="*/ 310 h 382"/>
                  <a:gd name="T66" fmla="*/ 69 w 360"/>
                  <a:gd name="T67" fmla="*/ 305 h 382"/>
                  <a:gd name="T68" fmla="*/ 92 w 360"/>
                  <a:gd name="T69" fmla="*/ 309 h 382"/>
                  <a:gd name="T70" fmla="*/ 111 w 360"/>
                  <a:gd name="T71" fmla="*/ 321 h 382"/>
                  <a:gd name="T72" fmla="*/ 132 w 360"/>
                  <a:gd name="T73" fmla="*/ 364 h 382"/>
                  <a:gd name="T74" fmla="*/ 173 w 360"/>
                  <a:gd name="T75" fmla="*/ 381 h 382"/>
                  <a:gd name="T76" fmla="*/ 216 w 360"/>
                  <a:gd name="T77" fmla="*/ 366 h 382"/>
                  <a:gd name="T78" fmla="*/ 241 w 360"/>
                  <a:gd name="T79" fmla="*/ 323 h 382"/>
                  <a:gd name="T80" fmla="*/ 280 w 360"/>
                  <a:gd name="T81" fmla="*/ 311 h 382"/>
                  <a:gd name="T82" fmla="*/ 328 w 360"/>
                  <a:gd name="T83" fmla="*/ 311 h 382"/>
                  <a:gd name="T84" fmla="*/ 353 w 360"/>
                  <a:gd name="T85" fmla="*/ 269 h 382"/>
                  <a:gd name="T86" fmla="*/ 332 w 360"/>
                  <a:gd name="T87" fmla="*/ 22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60" h="382">
                    <a:moveTo>
                      <a:pt x="246" y="206"/>
                    </a:moveTo>
                    <a:cubicBezTo>
                      <a:pt x="244" y="213"/>
                      <a:pt x="241" y="220"/>
                      <a:pt x="237" y="226"/>
                    </a:cubicBezTo>
                    <a:cubicBezTo>
                      <a:pt x="217" y="259"/>
                      <a:pt x="174" y="269"/>
                      <a:pt x="142" y="249"/>
                    </a:cubicBezTo>
                    <a:cubicBezTo>
                      <a:pt x="116" y="233"/>
                      <a:pt x="104" y="203"/>
                      <a:pt x="111" y="174"/>
                    </a:cubicBezTo>
                    <a:cubicBezTo>
                      <a:pt x="113" y="167"/>
                      <a:pt x="116" y="160"/>
                      <a:pt x="119" y="154"/>
                    </a:cubicBezTo>
                    <a:cubicBezTo>
                      <a:pt x="129" y="138"/>
                      <a:pt x="144" y="127"/>
                      <a:pt x="162" y="123"/>
                    </a:cubicBezTo>
                    <a:cubicBezTo>
                      <a:pt x="180" y="118"/>
                      <a:pt x="199" y="121"/>
                      <a:pt x="215" y="131"/>
                    </a:cubicBezTo>
                    <a:cubicBezTo>
                      <a:pt x="240" y="147"/>
                      <a:pt x="253" y="177"/>
                      <a:pt x="246" y="206"/>
                    </a:cubicBezTo>
                    <a:close/>
                    <a:moveTo>
                      <a:pt x="332" y="227"/>
                    </a:moveTo>
                    <a:cubicBezTo>
                      <a:pt x="327" y="221"/>
                      <a:pt x="324" y="210"/>
                      <a:pt x="325" y="203"/>
                    </a:cubicBezTo>
                    <a:cubicBezTo>
                      <a:pt x="325" y="198"/>
                      <a:pt x="325" y="192"/>
                      <a:pt x="325" y="187"/>
                    </a:cubicBezTo>
                    <a:cubicBezTo>
                      <a:pt x="325" y="179"/>
                      <a:pt x="329" y="169"/>
                      <a:pt x="334" y="164"/>
                    </a:cubicBezTo>
                    <a:lnTo>
                      <a:pt x="353" y="145"/>
                    </a:lnTo>
                    <a:cubicBezTo>
                      <a:pt x="358" y="140"/>
                      <a:pt x="360" y="130"/>
                      <a:pt x="358" y="123"/>
                    </a:cubicBezTo>
                    <a:cubicBezTo>
                      <a:pt x="354" y="115"/>
                      <a:pt x="351" y="107"/>
                      <a:pt x="347" y="100"/>
                    </a:cubicBezTo>
                    <a:cubicBezTo>
                      <a:pt x="343" y="93"/>
                      <a:pt x="339" y="86"/>
                      <a:pt x="335" y="79"/>
                    </a:cubicBezTo>
                    <a:cubicBezTo>
                      <a:pt x="334" y="79"/>
                      <a:pt x="334" y="78"/>
                      <a:pt x="333" y="77"/>
                    </a:cubicBezTo>
                    <a:cubicBezTo>
                      <a:pt x="333" y="77"/>
                      <a:pt x="332" y="77"/>
                      <a:pt x="332" y="77"/>
                    </a:cubicBezTo>
                    <a:cubicBezTo>
                      <a:pt x="332" y="76"/>
                      <a:pt x="331" y="76"/>
                      <a:pt x="331" y="76"/>
                    </a:cubicBezTo>
                    <a:cubicBezTo>
                      <a:pt x="331" y="75"/>
                      <a:pt x="330" y="75"/>
                      <a:pt x="330" y="75"/>
                    </a:cubicBezTo>
                    <a:cubicBezTo>
                      <a:pt x="330" y="75"/>
                      <a:pt x="329" y="74"/>
                      <a:pt x="329" y="74"/>
                    </a:cubicBezTo>
                    <a:cubicBezTo>
                      <a:pt x="324" y="71"/>
                      <a:pt x="318" y="70"/>
                      <a:pt x="313" y="71"/>
                    </a:cubicBezTo>
                    <a:lnTo>
                      <a:pt x="288" y="76"/>
                    </a:lnTo>
                    <a:cubicBezTo>
                      <a:pt x="281" y="78"/>
                      <a:pt x="271" y="76"/>
                      <a:pt x="265" y="72"/>
                    </a:cubicBezTo>
                    <a:cubicBezTo>
                      <a:pt x="262" y="69"/>
                      <a:pt x="259" y="67"/>
                      <a:pt x="256" y="65"/>
                    </a:cubicBezTo>
                    <a:cubicBezTo>
                      <a:pt x="252" y="63"/>
                      <a:pt x="249" y="61"/>
                      <a:pt x="246" y="60"/>
                    </a:cubicBezTo>
                    <a:cubicBezTo>
                      <a:pt x="241" y="57"/>
                      <a:pt x="235" y="49"/>
                      <a:pt x="233" y="42"/>
                    </a:cubicBezTo>
                    <a:lnTo>
                      <a:pt x="226" y="18"/>
                    </a:lnTo>
                    <a:cubicBezTo>
                      <a:pt x="225" y="12"/>
                      <a:pt x="220" y="7"/>
                      <a:pt x="215" y="4"/>
                    </a:cubicBezTo>
                    <a:cubicBezTo>
                      <a:pt x="213" y="3"/>
                      <a:pt x="211" y="2"/>
                      <a:pt x="209" y="2"/>
                    </a:cubicBezTo>
                    <a:cubicBezTo>
                      <a:pt x="201" y="1"/>
                      <a:pt x="193" y="0"/>
                      <a:pt x="184" y="0"/>
                    </a:cubicBezTo>
                    <a:cubicBezTo>
                      <a:pt x="176" y="0"/>
                      <a:pt x="168" y="0"/>
                      <a:pt x="160" y="0"/>
                    </a:cubicBezTo>
                    <a:cubicBezTo>
                      <a:pt x="153" y="1"/>
                      <a:pt x="145" y="8"/>
                      <a:pt x="142" y="15"/>
                    </a:cubicBezTo>
                    <a:lnTo>
                      <a:pt x="135" y="38"/>
                    </a:lnTo>
                    <a:cubicBezTo>
                      <a:pt x="132" y="45"/>
                      <a:pt x="125" y="53"/>
                      <a:pt x="118" y="56"/>
                    </a:cubicBezTo>
                    <a:cubicBezTo>
                      <a:pt x="112" y="59"/>
                      <a:pt x="106" y="62"/>
                      <a:pt x="101" y="65"/>
                    </a:cubicBezTo>
                    <a:cubicBezTo>
                      <a:pt x="94" y="69"/>
                      <a:pt x="84" y="72"/>
                      <a:pt x="76" y="70"/>
                    </a:cubicBezTo>
                    <a:lnTo>
                      <a:pt x="53" y="63"/>
                    </a:lnTo>
                    <a:cubicBezTo>
                      <a:pt x="46" y="61"/>
                      <a:pt x="36" y="64"/>
                      <a:pt x="31" y="70"/>
                    </a:cubicBezTo>
                    <a:cubicBezTo>
                      <a:pt x="26" y="77"/>
                      <a:pt x="21" y="84"/>
                      <a:pt x="17" y="91"/>
                    </a:cubicBezTo>
                    <a:cubicBezTo>
                      <a:pt x="12" y="98"/>
                      <a:pt x="9" y="105"/>
                      <a:pt x="5" y="112"/>
                    </a:cubicBezTo>
                    <a:cubicBezTo>
                      <a:pt x="4" y="114"/>
                      <a:pt x="4" y="117"/>
                      <a:pt x="4" y="119"/>
                    </a:cubicBezTo>
                    <a:cubicBezTo>
                      <a:pt x="3" y="125"/>
                      <a:pt x="5" y="131"/>
                      <a:pt x="9" y="134"/>
                    </a:cubicBezTo>
                    <a:lnTo>
                      <a:pt x="25" y="153"/>
                    </a:lnTo>
                    <a:cubicBezTo>
                      <a:pt x="30" y="158"/>
                      <a:pt x="33" y="169"/>
                      <a:pt x="32" y="177"/>
                    </a:cubicBezTo>
                    <a:cubicBezTo>
                      <a:pt x="32" y="183"/>
                      <a:pt x="31" y="190"/>
                      <a:pt x="32" y="196"/>
                    </a:cubicBezTo>
                    <a:cubicBezTo>
                      <a:pt x="32" y="203"/>
                      <a:pt x="28" y="214"/>
                      <a:pt x="23" y="219"/>
                    </a:cubicBezTo>
                    <a:lnTo>
                      <a:pt x="16" y="226"/>
                    </a:lnTo>
                    <a:lnTo>
                      <a:pt x="6" y="237"/>
                    </a:lnTo>
                    <a:cubicBezTo>
                      <a:pt x="3" y="240"/>
                      <a:pt x="1" y="244"/>
                      <a:pt x="0" y="249"/>
                    </a:cubicBezTo>
                    <a:cubicBezTo>
                      <a:pt x="0" y="250"/>
                      <a:pt x="0" y="250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52"/>
                      <a:pt x="0" y="253"/>
                      <a:pt x="0" y="254"/>
                    </a:cubicBezTo>
                    <a:cubicBezTo>
                      <a:pt x="0" y="254"/>
                      <a:pt x="0" y="255"/>
                      <a:pt x="0" y="255"/>
                    </a:cubicBezTo>
                    <a:cubicBezTo>
                      <a:pt x="0" y="255"/>
                      <a:pt x="0" y="256"/>
                      <a:pt x="0" y="257"/>
                    </a:cubicBezTo>
                    <a:cubicBezTo>
                      <a:pt x="0" y="257"/>
                      <a:pt x="0" y="258"/>
                      <a:pt x="1" y="259"/>
                    </a:cubicBezTo>
                    <a:cubicBezTo>
                      <a:pt x="4" y="266"/>
                      <a:pt x="7" y="273"/>
                      <a:pt x="11" y="280"/>
                    </a:cubicBezTo>
                    <a:cubicBezTo>
                      <a:pt x="12" y="283"/>
                      <a:pt x="14" y="286"/>
                      <a:pt x="16" y="289"/>
                    </a:cubicBezTo>
                    <a:cubicBezTo>
                      <a:pt x="17" y="290"/>
                      <a:pt x="17" y="291"/>
                      <a:pt x="18" y="292"/>
                    </a:cubicBezTo>
                    <a:cubicBezTo>
                      <a:pt x="20" y="295"/>
                      <a:pt x="22" y="299"/>
                      <a:pt x="24" y="302"/>
                    </a:cubicBezTo>
                    <a:cubicBezTo>
                      <a:pt x="25" y="303"/>
                      <a:pt x="26" y="304"/>
                      <a:pt x="26" y="305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8" y="306"/>
                      <a:pt x="29" y="306"/>
                      <a:pt x="29" y="307"/>
                    </a:cubicBezTo>
                    <a:cubicBezTo>
                      <a:pt x="30" y="307"/>
                      <a:pt x="30" y="307"/>
                      <a:pt x="30" y="307"/>
                    </a:cubicBezTo>
                    <a:cubicBezTo>
                      <a:pt x="32" y="309"/>
                      <a:pt x="35" y="310"/>
                      <a:pt x="37" y="310"/>
                    </a:cubicBezTo>
                    <a:lnTo>
                      <a:pt x="37" y="310"/>
                    </a:lnTo>
                    <a:cubicBezTo>
                      <a:pt x="40" y="311"/>
                      <a:pt x="43" y="311"/>
                      <a:pt x="46" y="310"/>
                    </a:cubicBezTo>
                    <a:lnTo>
                      <a:pt x="69" y="305"/>
                    </a:lnTo>
                    <a:lnTo>
                      <a:pt x="70" y="305"/>
                    </a:lnTo>
                    <a:cubicBezTo>
                      <a:pt x="78" y="304"/>
                      <a:pt x="87" y="306"/>
                      <a:pt x="92" y="309"/>
                    </a:cubicBezTo>
                    <a:cubicBezTo>
                      <a:pt x="95" y="311"/>
                      <a:pt x="98" y="313"/>
                      <a:pt x="101" y="315"/>
                    </a:cubicBezTo>
                    <a:cubicBezTo>
                      <a:pt x="104" y="317"/>
                      <a:pt x="108" y="319"/>
                      <a:pt x="111" y="321"/>
                    </a:cubicBezTo>
                    <a:cubicBezTo>
                      <a:pt x="117" y="324"/>
                      <a:pt x="124" y="332"/>
                      <a:pt x="126" y="339"/>
                    </a:cubicBezTo>
                    <a:lnTo>
                      <a:pt x="132" y="364"/>
                    </a:lnTo>
                    <a:cubicBezTo>
                      <a:pt x="134" y="371"/>
                      <a:pt x="142" y="378"/>
                      <a:pt x="149" y="379"/>
                    </a:cubicBezTo>
                    <a:cubicBezTo>
                      <a:pt x="157" y="380"/>
                      <a:pt x="165" y="381"/>
                      <a:pt x="173" y="381"/>
                    </a:cubicBezTo>
                    <a:cubicBezTo>
                      <a:pt x="181" y="382"/>
                      <a:pt x="190" y="381"/>
                      <a:pt x="198" y="381"/>
                    </a:cubicBezTo>
                    <a:cubicBezTo>
                      <a:pt x="206" y="380"/>
                      <a:pt x="214" y="373"/>
                      <a:pt x="216" y="366"/>
                    </a:cubicBezTo>
                    <a:lnTo>
                      <a:pt x="224" y="341"/>
                    </a:lnTo>
                    <a:cubicBezTo>
                      <a:pt x="227" y="334"/>
                      <a:pt x="234" y="326"/>
                      <a:pt x="241" y="323"/>
                    </a:cubicBezTo>
                    <a:cubicBezTo>
                      <a:pt x="246" y="320"/>
                      <a:pt x="251" y="318"/>
                      <a:pt x="255" y="315"/>
                    </a:cubicBezTo>
                    <a:cubicBezTo>
                      <a:pt x="262" y="311"/>
                      <a:pt x="273" y="309"/>
                      <a:pt x="280" y="311"/>
                    </a:cubicBezTo>
                    <a:lnTo>
                      <a:pt x="306" y="318"/>
                    </a:lnTo>
                    <a:cubicBezTo>
                      <a:pt x="313" y="320"/>
                      <a:pt x="323" y="317"/>
                      <a:pt x="328" y="311"/>
                    </a:cubicBezTo>
                    <a:cubicBezTo>
                      <a:pt x="332" y="305"/>
                      <a:pt x="337" y="298"/>
                      <a:pt x="341" y="292"/>
                    </a:cubicBezTo>
                    <a:cubicBezTo>
                      <a:pt x="346" y="284"/>
                      <a:pt x="350" y="277"/>
                      <a:pt x="353" y="269"/>
                    </a:cubicBezTo>
                    <a:cubicBezTo>
                      <a:pt x="356" y="262"/>
                      <a:pt x="355" y="252"/>
                      <a:pt x="350" y="247"/>
                    </a:cubicBezTo>
                    <a:lnTo>
                      <a:pt x="332" y="227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10" name="Cloud_mining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BE79371-AE0D-4B33-825D-82F766C69D5F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3686599" y="1701238"/>
              <a:ext cx="429801" cy="337114"/>
            </a:xfrm>
            <a:custGeom>
              <a:avLst/>
              <a:gdLst>
                <a:gd name="T0" fmla="*/ 2319 w 5504"/>
                <a:gd name="T1" fmla="*/ 4319 h 4319"/>
                <a:gd name="T2" fmla="*/ 4435 w 5504"/>
                <a:gd name="T3" fmla="*/ 3778 h 4319"/>
                <a:gd name="T4" fmla="*/ 4098 w 5504"/>
                <a:gd name="T5" fmla="*/ 4116 h 4319"/>
                <a:gd name="T6" fmla="*/ 4435 w 5504"/>
                <a:gd name="T7" fmla="*/ 3645 h 4319"/>
                <a:gd name="T8" fmla="*/ 2656 w 5504"/>
                <a:gd name="T9" fmla="*/ 3145 h 4319"/>
                <a:gd name="T10" fmla="*/ 792 w 5504"/>
                <a:gd name="T11" fmla="*/ 3778 h 4319"/>
                <a:gd name="T12" fmla="*/ 996 w 5504"/>
                <a:gd name="T13" fmla="*/ 3778 h 4319"/>
                <a:gd name="T14" fmla="*/ 811 w 5504"/>
                <a:gd name="T15" fmla="*/ 2073 h 4319"/>
                <a:gd name="T16" fmla="*/ 517 w 5504"/>
                <a:gd name="T17" fmla="*/ 2367 h 4319"/>
                <a:gd name="T18" fmla="*/ 933 w 5504"/>
                <a:gd name="T19" fmla="*/ 2367 h 4319"/>
                <a:gd name="T20" fmla="*/ 4393 w 5504"/>
                <a:gd name="T21" fmla="*/ 1692 h 4319"/>
                <a:gd name="T22" fmla="*/ 4502 w 5504"/>
                <a:gd name="T23" fmla="*/ 2241 h 4319"/>
                <a:gd name="T24" fmla="*/ 3315 w 5504"/>
                <a:gd name="T25" fmla="*/ 734 h 4319"/>
                <a:gd name="T26" fmla="*/ 1641 w 5504"/>
                <a:gd name="T27" fmla="*/ 1851 h 4319"/>
                <a:gd name="T28" fmla="*/ 3615 w 5504"/>
                <a:gd name="T29" fmla="*/ 1459 h 4319"/>
                <a:gd name="T30" fmla="*/ 2853 w 5504"/>
                <a:gd name="T31" fmla="*/ 894 h 4319"/>
                <a:gd name="T32" fmla="*/ 2977 w 5504"/>
                <a:gd name="T33" fmla="*/ 1401 h 4319"/>
                <a:gd name="T34" fmla="*/ 2981 w 5504"/>
                <a:gd name="T35" fmla="*/ 1403 h 4319"/>
                <a:gd name="T36" fmla="*/ 2984 w 5504"/>
                <a:gd name="T37" fmla="*/ 1404 h 4319"/>
                <a:gd name="T38" fmla="*/ 2987 w 5504"/>
                <a:gd name="T39" fmla="*/ 1406 h 4319"/>
                <a:gd name="T40" fmla="*/ 2991 w 5504"/>
                <a:gd name="T41" fmla="*/ 1408 h 4319"/>
                <a:gd name="T42" fmla="*/ 2993 w 5504"/>
                <a:gd name="T43" fmla="*/ 1409 h 4319"/>
                <a:gd name="T44" fmla="*/ 2997 w 5504"/>
                <a:gd name="T45" fmla="*/ 1411 h 4319"/>
                <a:gd name="T46" fmla="*/ 3000 w 5504"/>
                <a:gd name="T47" fmla="*/ 1413 h 4319"/>
                <a:gd name="T48" fmla="*/ 3002 w 5504"/>
                <a:gd name="T49" fmla="*/ 1414 h 4319"/>
                <a:gd name="T50" fmla="*/ 3005 w 5504"/>
                <a:gd name="T51" fmla="*/ 1416 h 4319"/>
                <a:gd name="T52" fmla="*/ 3007 w 5504"/>
                <a:gd name="T53" fmla="*/ 1417 h 4319"/>
                <a:gd name="T54" fmla="*/ 3010 w 5504"/>
                <a:gd name="T55" fmla="*/ 1420 h 4319"/>
                <a:gd name="T56" fmla="*/ 3012 w 5504"/>
                <a:gd name="T57" fmla="*/ 1421 h 4319"/>
                <a:gd name="T58" fmla="*/ 3015 w 5504"/>
                <a:gd name="T59" fmla="*/ 1423 h 4319"/>
                <a:gd name="T60" fmla="*/ 3018 w 5504"/>
                <a:gd name="T61" fmla="*/ 1425 h 4319"/>
                <a:gd name="T62" fmla="*/ 3021 w 5504"/>
                <a:gd name="T63" fmla="*/ 1427 h 4319"/>
                <a:gd name="T64" fmla="*/ 3024 w 5504"/>
                <a:gd name="T65" fmla="*/ 1429 h 4319"/>
                <a:gd name="T66" fmla="*/ 3027 w 5504"/>
                <a:gd name="T67" fmla="*/ 1431 h 4319"/>
                <a:gd name="T68" fmla="*/ 3030 w 5504"/>
                <a:gd name="T69" fmla="*/ 1433 h 4319"/>
                <a:gd name="T70" fmla="*/ 3032 w 5504"/>
                <a:gd name="T71" fmla="*/ 1435 h 4319"/>
                <a:gd name="T72" fmla="*/ 3035 w 5504"/>
                <a:gd name="T73" fmla="*/ 1438 h 4319"/>
                <a:gd name="T74" fmla="*/ 3037 w 5504"/>
                <a:gd name="T75" fmla="*/ 1439 h 4319"/>
                <a:gd name="T76" fmla="*/ 3133 w 5504"/>
                <a:gd name="T77" fmla="*/ 1567 h 4319"/>
                <a:gd name="T78" fmla="*/ 2634 w 5504"/>
                <a:gd name="T79" fmla="*/ 2254 h 4319"/>
                <a:gd name="T80" fmla="*/ 2484 w 5504"/>
                <a:gd name="T81" fmla="*/ 2014 h 4319"/>
                <a:gd name="T82" fmla="*/ 2140 w 5504"/>
                <a:gd name="T83" fmla="*/ 1447 h 4319"/>
                <a:gd name="T84" fmla="*/ 2290 w 5504"/>
                <a:gd name="T85" fmla="*/ 870 h 4319"/>
                <a:gd name="T86" fmla="*/ 2290 w 5504"/>
                <a:gd name="T87" fmla="*/ 1517 h 4319"/>
                <a:gd name="T88" fmla="*/ 3007 w 5504"/>
                <a:gd name="T89" fmla="*/ 1691 h 4319"/>
                <a:gd name="T90" fmla="*/ 2795 w 5504"/>
                <a:gd name="T91" fmla="*/ 1033 h 4319"/>
                <a:gd name="T92" fmla="*/ 2890 w 5504"/>
                <a:gd name="T93" fmla="*/ 1260 h 4319"/>
                <a:gd name="T94" fmla="*/ 4577 w 5504"/>
                <a:gd name="T95" fmla="*/ 2384 h 4319"/>
                <a:gd name="T96" fmla="*/ 5200 w 5504"/>
                <a:gd name="T97" fmla="*/ 1235 h 4319"/>
                <a:gd name="T98" fmla="*/ 4017 w 5504"/>
                <a:gd name="T99" fmla="*/ 1032 h 4319"/>
                <a:gd name="T100" fmla="*/ 2579 w 5504"/>
                <a:gd name="T101" fmla="*/ 0 h 4319"/>
                <a:gd name="T102" fmla="*/ 1077 w 5504"/>
                <a:gd name="T103" fmla="*/ 1518 h 4319"/>
                <a:gd name="T104" fmla="*/ 915 w 5504"/>
                <a:gd name="T105" fmla="*/ 1585 h 4319"/>
                <a:gd name="T106" fmla="*/ 211 w 5504"/>
                <a:gd name="T107" fmla="*/ 2792 h 4319"/>
                <a:gd name="T108" fmla="*/ 350 w 5504"/>
                <a:gd name="T109" fmla="*/ 2281 h 4319"/>
                <a:gd name="T110" fmla="*/ 1071 w 5504"/>
                <a:gd name="T111" fmla="*/ 2138 h 4319"/>
                <a:gd name="T112" fmla="*/ 2514 w 5504"/>
                <a:gd name="T113" fmla="*/ 3003 h 4319"/>
                <a:gd name="T114" fmla="*/ 1758 w 5504"/>
                <a:gd name="T115" fmla="*/ 628 h 4319"/>
                <a:gd name="T116" fmla="*/ 3421 w 5504"/>
                <a:gd name="T117" fmla="*/ 2291 h 4319"/>
                <a:gd name="T118" fmla="*/ 4194 w 5504"/>
                <a:gd name="T119" fmla="*/ 2263 h 4319"/>
                <a:gd name="T120" fmla="*/ 4668 w 5504"/>
                <a:gd name="T121" fmla="*/ 1553 h 4319"/>
                <a:gd name="T122" fmla="*/ 4577 w 5504"/>
                <a:gd name="T123" fmla="*/ 2384 h 4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04" h="4319">
                  <a:moveTo>
                    <a:pt x="2860" y="3778"/>
                  </a:moveTo>
                  <a:lnTo>
                    <a:pt x="2656" y="3778"/>
                  </a:lnTo>
                  <a:lnTo>
                    <a:pt x="2523" y="3778"/>
                  </a:lnTo>
                  <a:lnTo>
                    <a:pt x="2319" y="3778"/>
                  </a:lnTo>
                  <a:lnTo>
                    <a:pt x="2319" y="3982"/>
                  </a:lnTo>
                  <a:lnTo>
                    <a:pt x="2319" y="4116"/>
                  </a:lnTo>
                  <a:lnTo>
                    <a:pt x="2319" y="4319"/>
                  </a:lnTo>
                  <a:lnTo>
                    <a:pt x="2860" y="4319"/>
                  </a:lnTo>
                  <a:lnTo>
                    <a:pt x="2860" y="4116"/>
                  </a:lnTo>
                  <a:lnTo>
                    <a:pt x="2860" y="3982"/>
                  </a:lnTo>
                  <a:lnTo>
                    <a:pt x="2860" y="3778"/>
                  </a:lnTo>
                  <a:close/>
                  <a:moveTo>
                    <a:pt x="4772" y="3778"/>
                  </a:moveTo>
                  <a:lnTo>
                    <a:pt x="4569" y="3778"/>
                  </a:lnTo>
                  <a:lnTo>
                    <a:pt x="4435" y="3778"/>
                  </a:lnTo>
                  <a:lnTo>
                    <a:pt x="4231" y="3778"/>
                  </a:lnTo>
                  <a:lnTo>
                    <a:pt x="4231" y="3982"/>
                  </a:lnTo>
                  <a:lnTo>
                    <a:pt x="4231" y="4116"/>
                  </a:lnTo>
                  <a:lnTo>
                    <a:pt x="4231" y="4319"/>
                  </a:lnTo>
                  <a:lnTo>
                    <a:pt x="4772" y="4319"/>
                  </a:lnTo>
                  <a:lnTo>
                    <a:pt x="4772" y="3778"/>
                  </a:lnTo>
                  <a:close/>
                  <a:moveTo>
                    <a:pt x="4098" y="4116"/>
                  </a:moveTo>
                  <a:lnTo>
                    <a:pt x="2993" y="4116"/>
                  </a:lnTo>
                  <a:lnTo>
                    <a:pt x="2993" y="3982"/>
                  </a:lnTo>
                  <a:lnTo>
                    <a:pt x="4098" y="3982"/>
                  </a:lnTo>
                  <a:lnTo>
                    <a:pt x="4098" y="4116"/>
                  </a:lnTo>
                  <a:close/>
                  <a:moveTo>
                    <a:pt x="4569" y="3132"/>
                  </a:moveTo>
                  <a:lnTo>
                    <a:pt x="4569" y="3645"/>
                  </a:lnTo>
                  <a:lnTo>
                    <a:pt x="4435" y="3645"/>
                  </a:lnTo>
                  <a:lnTo>
                    <a:pt x="4435" y="3132"/>
                  </a:lnTo>
                  <a:lnTo>
                    <a:pt x="4569" y="3132"/>
                  </a:lnTo>
                  <a:close/>
                  <a:moveTo>
                    <a:pt x="2656" y="3145"/>
                  </a:moveTo>
                  <a:lnTo>
                    <a:pt x="2656" y="3645"/>
                  </a:lnTo>
                  <a:lnTo>
                    <a:pt x="2523" y="3645"/>
                  </a:lnTo>
                  <a:lnTo>
                    <a:pt x="2523" y="3145"/>
                  </a:lnTo>
                  <a:lnTo>
                    <a:pt x="2656" y="3145"/>
                  </a:lnTo>
                  <a:close/>
                  <a:moveTo>
                    <a:pt x="1129" y="3982"/>
                  </a:moveTo>
                  <a:lnTo>
                    <a:pt x="2186" y="3982"/>
                  </a:lnTo>
                  <a:lnTo>
                    <a:pt x="2186" y="4116"/>
                  </a:lnTo>
                  <a:lnTo>
                    <a:pt x="1129" y="4116"/>
                  </a:lnTo>
                  <a:lnTo>
                    <a:pt x="1129" y="3982"/>
                  </a:lnTo>
                  <a:close/>
                  <a:moveTo>
                    <a:pt x="996" y="3778"/>
                  </a:moveTo>
                  <a:lnTo>
                    <a:pt x="792" y="3778"/>
                  </a:lnTo>
                  <a:lnTo>
                    <a:pt x="658" y="3778"/>
                  </a:lnTo>
                  <a:lnTo>
                    <a:pt x="455" y="3778"/>
                  </a:lnTo>
                  <a:lnTo>
                    <a:pt x="455" y="4319"/>
                  </a:lnTo>
                  <a:lnTo>
                    <a:pt x="996" y="4319"/>
                  </a:lnTo>
                  <a:lnTo>
                    <a:pt x="996" y="4116"/>
                  </a:lnTo>
                  <a:lnTo>
                    <a:pt x="996" y="3982"/>
                  </a:lnTo>
                  <a:lnTo>
                    <a:pt x="996" y="3778"/>
                  </a:lnTo>
                  <a:close/>
                  <a:moveTo>
                    <a:pt x="792" y="3145"/>
                  </a:moveTo>
                  <a:lnTo>
                    <a:pt x="792" y="3645"/>
                  </a:lnTo>
                  <a:lnTo>
                    <a:pt x="658" y="3645"/>
                  </a:lnTo>
                  <a:lnTo>
                    <a:pt x="658" y="3145"/>
                  </a:lnTo>
                  <a:lnTo>
                    <a:pt x="792" y="3145"/>
                  </a:lnTo>
                  <a:close/>
                  <a:moveTo>
                    <a:pt x="884" y="2122"/>
                  </a:moveTo>
                  <a:cubicBezTo>
                    <a:pt x="863" y="2101"/>
                    <a:pt x="839" y="2085"/>
                    <a:pt x="811" y="2073"/>
                  </a:cubicBezTo>
                  <a:cubicBezTo>
                    <a:pt x="785" y="2062"/>
                    <a:pt x="756" y="2056"/>
                    <a:pt x="725" y="2056"/>
                  </a:cubicBezTo>
                  <a:cubicBezTo>
                    <a:pt x="695" y="2056"/>
                    <a:pt x="665" y="2062"/>
                    <a:pt x="639" y="2073"/>
                  </a:cubicBezTo>
                  <a:cubicBezTo>
                    <a:pt x="612" y="2085"/>
                    <a:pt x="587" y="2101"/>
                    <a:pt x="566" y="2122"/>
                  </a:cubicBezTo>
                  <a:lnTo>
                    <a:pt x="566" y="2122"/>
                  </a:lnTo>
                  <a:cubicBezTo>
                    <a:pt x="545" y="2143"/>
                    <a:pt x="529" y="2168"/>
                    <a:pt x="517" y="2195"/>
                  </a:cubicBezTo>
                  <a:cubicBezTo>
                    <a:pt x="506" y="2222"/>
                    <a:pt x="500" y="2250"/>
                    <a:pt x="500" y="2281"/>
                  </a:cubicBezTo>
                  <a:cubicBezTo>
                    <a:pt x="500" y="2311"/>
                    <a:pt x="506" y="2341"/>
                    <a:pt x="517" y="2367"/>
                  </a:cubicBezTo>
                  <a:cubicBezTo>
                    <a:pt x="529" y="2394"/>
                    <a:pt x="545" y="2419"/>
                    <a:pt x="566" y="2440"/>
                  </a:cubicBezTo>
                  <a:lnTo>
                    <a:pt x="566" y="2440"/>
                  </a:lnTo>
                  <a:cubicBezTo>
                    <a:pt x="587" y="2461"/>
                    <a:pt x="612" y="2478"/>
                    <a:pt x="639" y="2489"/>
                  </a:cubicBezTo>
                  <a:cubicBezTo>
                    <a:pt x="665" y="2500"/>
                    <a:pt x="695" y="2506"/>
                    <a:pt x="725" y="2506"/>
                  </a:cubicBezTo>
                  <a:cubicBezTo>
                    <a:pt x="756" y="2506"/>
                    <a:pt x="785" y="2500"/>
                    <a:pt x="811" y="2489"/>
                  </a:cubicBezTo>
                  <a:cubicBezTo>
                    <a:pt x="839" y="2478"/>
                    <a:pt x="863" y="2461"/>
                    <a:pt x="884" y="2440"/>
                  </a:cubicBezTo>
                  <a:cubicBezTo>
                    <a:pt x="905" y="2419"/>
                    <a:pt x="921" y="2394"/>
                    <a:pt x="933" y="2367"/>
                  </a:cubicBezTo>
                  <a:cubicBezTo>
                    <a:pt x="944" y="2341"/>
                    <a:pt x="950" y="2311"/>
                    <a:pt x="950" y="2281"/>
                  </a:cubicBezTo>
                  <a:cubicBezTo>
                    <a:pt x="950" y="2250"/>
                    <a:pt x="944" y="2222"/>
                    <a:pt x="933" y="2195"/>
                  </a:cubicBezTo>
                  <a:cubicBezTo>
                    <a:pt x="921" y="2168"/>
                    <a:pt x="905" y="2143"/>
                    <a:pt x="884" y="2122"/>
                  </a:cubicBezTo>
                  <a:close/>
                  <a:moveTo>
                    <a:pt x="4704" y="1754"/>
                  </a:moveTo>
                  <a:cubicBezTo>
                    <a:pt x="4677" y="1727"/>
                    <a:pt x="4646" y="1706"/>
                    <a:pt x="4611" y="1692"/>
                  </a:cubicBezTo>
                  <a:cubicBezTo>
                    <a:pt x="4578" y="1678"/>
                    <a:pt x="4541" y="1670"/>
                    <a:pt x="4502" y="1670"/>
                  </a:cubicBezTo>
                  <a:cubicBezTo>
                    <a:pt x="4463" y="1670"/>
                    <a:pt x="4426" y="1678"/>
                    <a:pt x="4393" y="1692"/>
                  </a:cubicBezTo>
                  <a:cubicBezTo>
                    <a:pt x="4358" y="1706"/>
                    <a:pt x="4326" y="1727"/>
                    <a:pt x="4300" y="1754"/>
                  </a:cubicBezTo>
                  <a:cubicBezTo>
                    <a:pt x="4274" y="1780"/>
                    <a:pt x="4253" y="1811"/>
                    <a:pt x="4238" y="1846"/>
                  </a:cubicBezTo>
                  <a:cubicBezTo>
                    <a:pt x="4224" y="1880"/>
                    <a:pt x="4217" y="1917"/>
                    <a:pt x="4217" y="1955"/>
                  </a:cubicBezTo>
                  <a:cubicBezTo>
                    <a:pt x="4217" y="1994"/>
                    <a:pt x="4224" y="2031"/>
                    <a:pt x="4238" y="2064"/>
                  </a:cubicBezTo>
                  <a:cubicBezTo>
                    <a:pt x="4253" y="2099"/>
                    <a:pt x="4274" y="2131"/>
                    <a:pt x="4300" y="2157"/>
                  </a:cubicBezTo>
                  <a:cubicBezTo>
                    <a:pt x="4326" y="2183"/>
                    <a:pt x="4358" y="2205"/>
                    <a:pt x="4393" y="2219"/>
                  </a:cubicBezTo>
                  <a:cubicBezTo>
                    <a:pt x="4426" y="2233"/>
                    <a:pt x="4463" y="2241"/>
                    <a:pt x="4502" y="2241"/>
                  </a:cubicBezTo>
                  <a:cubicBezTo>
                    <a:pt x="4541" y="2241"/>
                    <a:pt x="4578" y="2233"/>
                    <a:pt x="4611" y="2219"/>
                  </a:cubicBezTo>
                  <a:cubicBezTo>
                    <a:pt x="4646" y="2205"/>
                    <a:pt x="4677" y="2183"/>
                    <a:pt x="4704" y="2157"/>
                  </a:cubicBezTo>
                  <a:cubicBezTo>
                    <a:pt x="4730" y="2131"/>
                    <a:pt x="4751" y="2099"/>
                    <a:pt x="4766" y="2064"/>
                  </a:cubicBezTo>
                  <a:cubicBezTo>
                    <a:pt x="4780" y="2031"/>
                    <a:pt x="4787" y="1994"/>
                    <a:pt x="4787" y="1955"/>
                  </a:cubicBezTo>
                  <a:cubicBezTo>
                    <a:pt x="4787" y="1917"/>
                    <a:pt x="4780" y="1880"/>
                    <a:pt x="4766" y="1846"/>
                  </a:cubicBezTo>
                  <a:cubicBezTo>
                    <a:pt x="4751" y="1811"/>
                    <a:pt x="4730" y="1780"/>
                    <a:pt x="4704" y="1754"/>
                  </a:cubicBezTo>
                  <a:close/>
                  <a:moveTo>
                    <a:pt x="3315" y="734"/>
                  </a:moveTo>
                  <a:cubicBezTo>
                    <a:pt x="3220" y="639"/>
                    <a:pt x="3107" y="563"/>
                    <a:pt x="2982" y="511"/>
                  </a:cubicBezTo>
                  <a:cubicBezTo>
                    <a:pt x="2861" y="461"/>
                    <a:pt x="2728" y="434"/>
                    <a:pt x="2589" y="434"/>
                  </a:cubicBezTo>
                  <a:cubicBezTo>
                    <a:pt x="2450" y="434"/>
                    <a:pt x="2318" y="461"/>
                    <a:pt x="2197" y="511"/>
                  </a:cubicBezTo>
                  <a:cubicBezTo>
                    <a:pt x="2072" y="563"/>
                    <a:pt x="1959" y="639"/>
                    <a:pt x="1864" y="734"/>
                  </a:cubicBezTo>
                  <a:cubicBezTo>
                    <a:pt x="1770" y="829"/>
                    <a:pt x="1693" y="942"/>
                    <a:pt x="1641" y="1067"/>
                  </a:cubicBezTo>
                  <a:cubicBezTo>
                    <a:pt x="1591" y="1188"/>
                    <a:pt x="1564" y="1320"/>
                    <a:pt x="1564" y="1459"/>
                  </a:cubicBezTo>
                  <a:cubicBezTo>
                    <a:pt x="1564" y="1598"/>
                    <a:pt x="1591" y="1731"/>
                    <a:pt x="1641" y="1851"/>
                  </a:cubicBezTo>
                  <a:cubicBezTo>
                    <a:pt x="1693" y="1977"/>
                    <a:pt x="1770" y="2090"/>
                    <a:pt x="1864" y="2184"/>
                  </a:cubicBezTo>
                  <a:cubicBezTo>
                    <a:pt x="1959" y="2279"/>
                    <a:pt x="2072" y="2355"/>
                    <a:pt x="2197" y="2407"/>
                  </a:cubicBezTo>
                  <a:cubicBezTo>
                    <a:pt x="2318" y="2457"/>
                    <a:pt x="2450" y="2485"/>
                    <a:pt x="2589" y="2485"/>
                  </a:cubicBezTo>
                  <a:cubicBezTo>
                    <a:pt x="2728" y="2485"/>
                    <a:pt x="2861" y="2457"/>
                    <a:pt x="2982" y="2407"/>
                  </a:cubicBezTo>
                  <a:cubicBezTo>
                    <a:pt x="3107" y="2355"/>
                    <a:pt x="3220" y="2279"/>
                    <a:pt x="3315" y="2184"/>
                  </a:cubicBezTo>
                  <a:cubicBezTo>
                    <a:pt x="3409" y="2090"/>
                    <a:pt x="3485" y="1977"/>
                    <a:pt x="3537" y="1851"/>
                  </a:cubicBezTo>
                  <a:cubicBezTo>
                    <a:pt x="3587" y="1731"/>
                    <a:pt x="3615" y="1598"/>
                    <a:pt x="3615" y="1459"/>
                  </a:cubicBezTo>
                  <a:cubicBezTo>
                    <a:pt x="3615" y="1320"/>
                    <a:pt x="3587" y="1188"/>
                    <a:pt x="3537" y="1067"/>
                  </a:cubicBezTo>
                  <a:cubicBezTo>
                    <a:pt x="3485" y="942"/>
                    <a:pt x="3409" y="829"/>
                    <a:pt x="3315" y="734"/>
                  </a:cubicBezTo>
                  <a:close/>
                  <a:moveTo>
                    <a:pt x="2612" y="611"/>
                  </a:moveTo>
                  <a:cubicBezTo>
                    <a:pt x="2626" y="625"/>
                    <a:pt x="2634" y="643"/>
                    <a:pt x="2634" y="664"/>
                  </a:cubicBezTo>
                  <a:lnTo>
                    <a:pt x="2634" y="870"/>
                  </a:lnTo>
                  <a:lnTo>
                    <a:pt x="2729" y="870"/>
                  </a:lnTo>
                  <a:cubicBezTo>
                    <a:pt x="2773" y="870"/>
                    <a:pt x="2815" y="879"/>
                    <a:pt x="2853" y="894"/>
                  </a:cubicBezTo>
                  <a:cubicBezTo>
                    <a:pt x="2892" y="911"/>
                    <a:pt x="2928" y="935"/>
                    <a:pt x="2958" y="965"/>
                  </a:cubicBezTo>
                  <a:cubicBezTo>
                    <a:pt x="2988" y="994"/>
                    <a:pt x="3012" y="1030"/>
                    <a:pt x="3028" y="1070"/>
                  </a:cubicBezTo>
                  <a:cubicBezTo>
                    <a:pt x="3044" y="1108"/>
                    <a:pt x="3053" y="1150"/>
                    <a:pt x="3053" y="1193"/>
                  </a:cubicBezTo>
                  <a:lnTo>
                    <a:pt x="3053" y="1193"/>
                  </a:lnTo>
                  <a:cubicBezTo>
                    <a:pt x="3053" y="1234"/>
                    <a:pt x="3045" y="1273"/>
                    <a:pt x="3031" y="1309"/>
                  </a:cubicBezTo>
                  <a:lnTo>
                    <a:pt x="3032" y="1309"/>
                  </a:lnTo>
                  <a:cubicBezTo>
                    <a:pt x="3019" y="1342"/>
                    <a:pt x="3000" y="1373"/>
                    <a:pt x="2977" y="1401"/>
                  </a:cubicBezTo>
                  <a:lnTo>
                    <a:pt x="2978" y="1401"/>
                  </a:lnTo>
                  <a:lnTo>
                    <a:pt x="2978" y="1401"/>
                  </a:lnTo>
                  <a:lnTo>
                    <a:pt x="2979" y="1402"/>
                  </a:lnTo>
                  <a:lnTo>
                    <a:pt x="2979" y="1402"/>
                  </a:lnTo>
                  <a:lnTo>
                    <a:pt x="2980" y="1402"/>
                  </a:lnTo>
                  <a:lnTo>
                    <a:pt x="2981" y="1403"/>
                  </a:lnTo>
                  <a:lnTo>
                    <a:pt x="2981" y="1403"/>
                  </a:lnTo>
                  <a:lnTo>
                    <a:pt x="2981" y="1403"/>
                  </a:lnTo>
                  <a:lnTo>
                    <a:pt x="2982" y="1403"/>
                  </a:lnTo>
                  <a:lnTo>
                    <a:pt x="2982" y="1403"/>
                  </a:lnTo>
                  <a:lnTo>
                    <a:pt x="2982" y="1403"/>
                  </a:lnTo>
                  <a:lnTo>
                    <a:pt x="2983" y="1403"/>
                  </a:lnTo>
                  <a:lnTo>
                    <a:pt x="2984" y="1404"/>
                  </a:lnTo>
                  <a:lnTo>
                    <a:pt x="2984" y="1404"/>
                  </a:lnTo>
                  <a:lnTo>
                    <a:pt x="2984" y="1404"/>
                  </a:lnTo>
                  <a:lnTo>
                    <a:pt x="2985" y="1405"/>
                  </a:lnTo>
                  <a:lnTo>
                    <a:pt x="2985" y="1405"/>
                  </a:lnTo>
                  <a:lnTo>
                    <a:pt x="2985" y="1405"/>
                  </a:lnTo>
                  <a:lnTo>
                    <a:pt x="2986" y="1405"/>
                  </a:lnTo>
                  <a:lnTo>
                    <a:pt x="2986" y="1405"/>
                  </a:lnTo>
                  <a:lnTo>
                    <a:pt x="2987" y="1406"/>
                  </a:lnTo>
                  <a:lnTo>
                    <a:pt x="2987" y="1406"/>
                  </a:lnTo>
                  <a:lnTo>
                    <a:pt x="2989" y="1407"/>
                  </a:lnTo>
                  <a:lnTo>
                    <a:pt x="2990" y="1407"/>
                  </a:lnTo>
                  <a:lnTo>
                    <a:pt x="2990" y="1407"/>
                  </a:lnTo>
                  <a:lnTo>
                    <a:pt x="2990" y="1407"/>
                  </a:lnTo>
                  <a:lnTo>
                    <a:pt x="2991" y="1408"/>
                  </a:lnTo>
                  <a:lnTo>
                    <a:pt x="2991" y="1408"/>
                  </a:lnTo>
                  <a:lnTo>
                    <a:pt x="2992" y="1408"/>
                  </a:lnTo>
                  <a:lnTo>
                    <a:pt x="2992" y="1408"/>
                  </a:lnTo>
                  <a:lnTo>
                    <a:pt x="2992" y="1409"/>
                  </a:lnTo>
                  <a:lnTo>
                    <a:pt x="2992" y="1409"/>
                  </a:lnTo>
                  <a:lnTo>
                    <a:pt x="2993" y="1409"/>
                  </a:lnTo>
                  <a:lnTo>
                    <a:pt x="2993" y="1409"/>
                  </a:lnTo>
                  <a:lnTo>
                    <a:pt x="2993" y="1409"/>
                  </a:lnTo>
                  <a:lnTo>
                    <a:pt x="2994" y="1410"/>
                  </a:lnTo>
                  <a:lnTo>
                    <a:pt x="2995" y="1410"/>
                  </a:lnTo>
                  <a:lnTo>
                    <a:pt x="2995" y="1410"/>
                  </a:lnTo>
                  <a:lnTo>
                    <a:pt x="2995" y="1410"/>
                  </a:lnTo>
                  <a:lnTo>
                    <a:pt x="2996" y="1411"/>
                  </a:lnTo>
                  <a:lnTo>
                    <a:pt x="2997" y="1411"/>
                  </a:lnTo>
                  <a:lnTo>
                    <a:pt x="2997" y="1411"/>
                  </a:lnTo>
                  <a:lnTo>
                    <a:pt x="2998" y="1412"/>
                  </a:lnTo>
                  <a:lnTo>
                    <a:pt x="2998" y="1412"/>
                  </a:lnTo>
                  <a:lnTo>
                    <a:pt x="2998" y="1412"/>
                  </a:lnTo>
                  <a:lnTo>
                    <a:pt x="2999" y="1412"/>
                  </a:lnTo>
                  <a:lnTo>
                    <a:pt x="2999" y="1412"/>
                  </a:lnTo>
                  <a:lnTo>
                    <a:pt x="3000" y="1413"/>
                  </a:lnTo>
                  <a:lnTo>
                    <a:pt x="3000" y="1413"/>
                  </a:lnTo>
                  <a:lnTo>
                    <a:pt x="3000" y="1413"/>
                  </a:lnTo>
                  <a:lnTo>
                    <a:pt x="3000" y="1413"/>
                  </a:lnTo>
                  <a:lnTo>
                    <a:pt x="3001" y="1414"/>
                  </a:lnTo>
                  <a:lnTo>
                    <a:pt x="3001" y="1414"/>
                  </a:lnTo>
                  <a:lnTo>
                    <a:pt x="3001" y="1414"/>
                  </a:lnTo>
                  <a:lnTo>
                    <a:pt x="3001" y="1414"/>
                  </a:lnTo>
                  <a:lnTo>
                    <a:pt x="3002" y="1414"/>
                  </a:lnTo>
                  <a:lnTo>
                    <a:pt x="3003" y="1415"/>
                  </a:lnTo>
                  <a:lnTo>
                    <a:pt x="3003" y="1415"/>
                  </a:lnTo>
                  <a:lnTo>
                    <a:pt x="3003" y="1415"/>
                  </a:lnTo>
                  <a:lnTo>
                    <a:pt x="3003" y="1415"/>
                  </a:lnTo>
                  <a:lnTo>
                    <a:pt x="3004" y="1416"/>
                  </a:lnTo>
                  <a:lnTo>
                    <a:pt x="3004" y="1416"/>
                  </a:lnTo>
                  <a:lnTo>
                    <a:pt x="3005" y="1416"/>
                  </a:lnTo>
                  <a:lnTo>
                    <a:pt x="3005" y="1416"/>
                  </a:lnTo>
                  <a:lnTo>
                    <a:pt x="3006" y="1417"/>
                  </a:lnTo>
                  <a:lnTo>
                    <a:pt x="3006" y="1417"/>
                  </a:lnTo>
                  <a:lnTo>
                    <a:pt x="3006" y="1417"/>
                  </a:lnTo>
                  <a:lnTo>
                    <a:pt x="3006" y="1417"/>
                  </a:lnTo>
                  <a:lnTo>
                    <a:pt x="3007" y="1417"/>
                  </a:lnTo>
                  <a:lnTo>
                    <a:pt x="3007" y="1417"/>
                  </a:lnTo>
                  <a:lnTo>
                    <a:pt x="3007" y="1418"/>
                  </a:lnTo>
                  <a:lnTo>
                    <a:pt x="3008" y="1418"/>
                  </a:lnTo>
                  <a:lnTo>
                    <a:pt x="3009" y="1419"/>
                  </a:lnTo>
                  <a:lnTo>
                    <a:pt x="3010" y="1419"/>
                  </a:lnTo>
                  <a:lnTo>
                    <a:pt x="3010" y="1419"/>
                  </a:lnTo>
                  <a:lnTo>
                    <a:pt x="3010" y="1419"/>
                  </a:lnTo>
                  <a:lnTo>
                    <a:pt x="3010" y="1420"/>
                  </a:lnTo>
                  <a:lnTo>
                    <a:pt x="3010" y="1420"/>
                  </a:lnTo>
                  <a:lnTo>
                    <a:pt x="3011" y="1420"/>
                  </a:lnTo>
                  <a:lnTo>
                    <a:pt x="3011" y="1420"/>
                  </a:lnTo>
                  <a:lnTo>
                    <a:pt x="3012" y="1421"/>
                  </a:lnTo>
                  <a:lnTo>
                    <a:pt x="3012" y="1421"/>
                  </a:lnTo>
                  <a:lnTo>
                    <a:pt x="3012" y="1421"/>
                  </a:lnTo>
                  <a:lnTo>
                    <a:pt x="3012" y="1421"/>
                  </a:lnTo>
                  <a:lnTo>
                    <a:pt x="3013" y="1422"/>
                  </a:lnTo>
                  <a:lnTo>
                    <a:pt x="3013" y="1422"/>
                  </a:lnTo>
                  <a:lnTo>
                    <a:pt x="3014" y="1422"/>
                  </a:lnTo>
                  <a:lnTo>
                    <a:pt x="3014" y="1422"/>
                  </a:lnTo>
                  <a:lnTo>
                    <a:pt x="3014" y="1422"/>
                  </a:lnTo>
                  <a:lnTo>
                    <a:pt x="3014" y="1422"/>
                  </a:lnTo>
                  <a:lnTo>
                    <a:pt x="3015" y="1423"/>
                  </a:lnTo>
                  <a:lnTo>
                    <a:pt x="3015" y="1423"/>
                  </a:lnTo>
                  <a:lnTo>
                    <a:pt x="3015" y="1423"/>
                  </a:lnTo>
                  <a:lnTo>
                    <a:pt x="3015" y="1423"/>
                  </a:lnTo>
                  <a:lnTo>
                    <a:pt x="3016" y="1424"/>
                  </a:lnTo>
                  <a:lnTo>
                    <a:pt x="3017" y="1424"/>
                  </a:lnTo>
                  <a:lnTo>
                    <a:pt x="3017" y="1424"/>
                  </a:lnTo>
                  <a:lnTo>
                    <a:pt x="3018" y="1425"/>
                  </a:lnTo>
                  <a:lnTo>
                    <a:pt x="3018" y="1425"/>
                  </a:lnTo>
                  <a:lnTo>
                    <a:pt x="3018" y="1425"/>
                  </a:lnTo>
                  <a:lnTo>
                    <a:pt x="3019" y="1425"/>
                  </a:lnTo>
                  <a:lnTo>
                    <a:pt x="3019" y="1425"/>
                  </a:lnTo>
                  <a:lnTo>
                    <a:pt x="3020" y="1426"/>
                  </a:lnTo>
                  <a:lnTo>
                    <a:pt x="3021" y="1427"/>
                  </a:lnTo>
                  <a:lnTo>
                    <a:pt x="3021" y="1427"/>
                  </a:lnTo>
                  <a:lnTo>
                    <a:pt x="3021" y="1427"/>
                  </a:lnTo>
                  <a:lnTo>
                    <a:pt x="3021" y="1427"/>
                  </a:lnTo>
                  <a:lnTo>
                    <a:pt x="3022" y="1428"/>
                  </a:lnTo>
                  <a:lnTo>
                    <a:pt x="3023" y="1428"/>
                  </a:lnTo>
                  <a:lnTo>
                    <a:pt x="3024" y="1429"/>
                  </a:lnTo>
                  <a:lnTo>
                    <a:pt x="3024" y="1429"/>
                  </a:lnTo>
                  <a:lnTo>
                    <a:pt x="3024" y="1429"/>
                  </a:lnTo>
                  <a:lnTo>
                    <a:pt x="3024" y="1429"/>
                  </a:lnTo>
                  <a:lnTo>
                    <a:pt x="3025" y="1430"/>
                  </a:lnTo>
                  <a:lnTo>
                    <a:pt x="3025" y="1430"/>
                  </a:lnTo>
                  <a:lnTo>
                    <a:pt x="3025" y="1430"/>
                  </a:lnTo>
                  <a:lnTo>
                    <a:pt x="3026" y="1431"/>
                  </a:lnTo>
                  <a:lnTo>
                    <a:pt x="3027" y="1431"/>
                  </a:lnTo>
                  <a:lnTo>
                    <a:pt x="3027" y="1431"/>
                  </a:lnTo>
                  <a:lnTo>
                    <a:pt x="3027" y="1431"/>
                  </a:lnTo>
                  <a:lnTo>
                    <a:pt x="3028" y="1432"/>
                  </a:lnTo>
                  <a:lnTo>
                    <a:pt x="3029" y="1433"/>
                  </a:lnTo>
                  <a:lnTo>
                    <a:pt x="3029" y="1433"/>
                  </a:lnTo>
                  <a:lnTo>
                    <a:pt x="3029" y="1433"/>
                  </a:lnTo>
                  <a:lnTo>
                    <a:pt x="3029" y="1433"/>
                  </a:lnTo>
                  <a:lnTo>
                    <a:pt x="3030" y="1433"/>
                  </a:lnTo>
                  <a:lnTo>
                    <a:pt x="3030" y="1434"/>
                  </a:lnTo>
                  <a:lnTo>
                    <a:pt x="3030" y="1434"/>
                  </a:lnTo>
                  <a:lnTo>
                    <a:pt x="3031" y="1434"/>
                  </a:lnTo>
                  <a:lnTo>
                    <a:pt x="3031" y="1434"/>
                  </a:lnTo>
                  <a:lnTo>
                    <a:pt x="3031" y="1435"/>
                  </a:lnTo>
                  <a:lnTo>
                    <a:pt x="3031" y="1435"/>
                  </a:lnTo>
                  <a:lnTo>
                    <a:pt x="3032" y="1435"/>
                  </a:lnTo>
                  <a:lnTo>
                    <a:pt x="3033" y="1436"/>
                  </a:lnTo>
                  <a:lnTo>
                    <a:pt x="3033" y="1436"/>
                  </a:lnTo>
                  <a:lnTo>
                    <a:pt x="3033" y="1436"/>
                  </a:lnTo>
                  <a:lnTo>
                    <a:pt x="3034" y="1437"/>
                  </a:lnTo>
                  <a:lnTo>
                    <a:pt x="3034" y="1437"/>
                  </a:lnTo>
                  <a:lnTo>
                    <a:pt x="3035" y="1437"/>
                  </a:lnTo>
                  <a:lnTo>
                    <a:pt x="3035" y="1438"/>
                  </a:lnTo>
                  <a:lnTo>
                    <a:pt x="3035" y="1438"/>
                  </a:lnTo>
                  <a:lnTo>
                    <a:pt x="3035" y="1438"/>
                  </a:lnTo>
                  <a:lnTo>
                    <a:pt x="3036" y="1438"/>
                  </a:lnTo>
                  <a:lnTo>
                    <a:pt x="3036" y="1439"/>
                  </a:lnTo>
                  <a:lnTo>
                    <a:pt x="3036" y="1439"/>
                  </a:lnTo>
                  <a:lnTo>
                    <a:pt x="3037" y="1439"/>
                  </a:lnTo>
                  <a:lnTo>
                    <a:pt x="3037" y="1439"/>
                  </a:lnTo>
                  <a:lnTo>
                    <a:pt x="3038" y="1440"/>
                  </a:lnTo>
                  <a:lnTo>
                    <a:pt x="3038" y="1440"/>
                  </a:lnTo>
                  <a:lnTo>
                    <a:pt x="3038" y="1440"/>
                  </a:lnTo>
                  <a:lnTo>
                    <a:pt x="3039" y="1441"/>
                  </a:lnTo>
                  <a:cubicBezTo>
                    <a:pt x="3042" y="1444"/>
                    <a:pt x="3046" y="1447"/>
                    <a:pt x="3051" y="1451"/>
                  </a:cubicBezTo>
                  <a:cubicBezTo>
                    <a:pt x="3055" y="1455"/>
                    <a:pt x="3059" y="1459"/>
                    <a:pt x="3062" y="1462"/>
                  </a:cubicBezTo>
                  <a:cubicBezTo>
                    <a:pt x="3092" y="1492"/>
                    <a:pt x="3116" y="1528"/>
                    <a:pt x="3133" y="1567"/>
                  </a:cubicBezTo>
                  <a:cubicBezTo>
                    <a:pt x="3149" y="1605"/>
                    <a:pt x="3157" y="1647"/>
                    <a:pt x="3157" y="1691"/>
                  </a:cubicBezTo>
                  <a:lnTo>
                    <a:pt x="3157" y="1691"/>
                  </a:lnTo>
                  <a:cubicBezTo>
                    <a:pt x="3157" y="1780"/>
                    <a:pt x="3121" y="1861"/>
                    <a:pt x="3062" y="1919"/>
                  </a:cubicBezTo>
                  <a:cubicBezTo>
                    <a:pt x="3033" y="1949"/>
                    <a:pt x="2997" y="1973"/>
                    <a:pt x="2957" y="1990"/>
                  </a:cubicBezTo>
                  <a:cubicBezTo>
                    <a:pt x="2919" y="2006"/>
                    <a:pt x="2877" y="2014"/>
                    <a:pt x="2834" y="2014"/>
                  </a:cubicBezTo>
                  <a:lnTo>
                    <a:pt x="2634" y="2014"/>
                  </a:lnTo>
                  <a:lnTo>
                    <a:pt x="2634" y="2254"/>
                  </a:lnTo>
                  <a:cubicBezTo>
                    <a:pt x="2634" y="2275"/>
                    <a:pt x="2626" y="2294"/>
                    <a:pt x="2612" y="2307"/>
                  </a:cubicBezTo>
                  <a:lnTo>
                    <a:pt x="2612" y="2307"/>
                  </a:lnTo>
                  <a:cubicBezTo>
                    <a:pt x="2599" y="2321"/>
                    <a:pt x="2580" y="2329"/>
                    <a:pt x="2559" y="2329"/>
                  </a:cubicBezTo>
                  <a:cubicBezTo>
                    <a:pt x="2538" y="2329"/>
                    <a:pt x="2520" y="2321"/>
                    <a:pt x="2506" y="2307"/>
                  </a:cubicBezTo>
                  <a:lnTo>
                    <a:pt x="2506" y="2307"/>
                  </a:lnTo>
                  <a:cubicBezTo>
                    <a:pt x="2493" y="2294"/>
                    <a:pt x="2484" y="2275"/>
                    <a:pt x="2484" y="2254"/>
                  </a:cubicBezTo>
                  <a:lnTo>
                    <a:pt x="2484" y="2014"/>
                  </a:lnTo>
                  <a:lnTo>
                    <a:pt x="2290" y="2014"/>
                  </a:lnTo>
                  <a:cubicBezTo>
                    <a:pt x="2270" y="2014"/>
                    <a:pt x="2250" y="2010"/>
                    <a:pt x="2233" y="2003"/>
                  </a:cubicBezTo>
                  <a:cubicBezTo>
                    <a:pt x="2214" y="1995"/>
                    <a:pt x="2198" y="1984"/>
                    <a:pt x="2184" y="1971"/>
                  </a:cubicBezTo>
                  <a:cubicBezTo>
                    <a:pt x="2170" y="1957"/>
                    <a:pt x="2159" y="1940"/>
                    <a:pt x="2152" y="1922"/>
                  </a:cubicBezTo>
                  <a:cubicBezTo>
                    <a:pt x="2144" y="1904"/>
                    <a:pt x="2140" y="1885"/>
                    <a:pt x="2140" y="1865"/>
                  </a:cubicBezTo>
                  <a:lnTo>
                    <a:pt x="2140" y="1509"/>
                  </a:lnTo>
                  <a:lnTo>
                    <a:pt x="2140" y="1447"/>
                  </a:lnTo>
                  <a:lnTo>
                    <a:pt x="2140" y="1442"/>
                  </a:lnTo>
                  <a:lnTo>
                    <a:pt x="2140" y="1375"/>
                  </a:lnTo>
                  <a:lnTo>
                    <a:pt x="2140" y="1019"/>
                  </a:lnTo>
                  <a:cubicBezTo>
                    <a:pt x="2140" y="999"/>
                    <a:pt x="2144" y="980"/>
                    <a:pt x="2152" y="962"/>
                  </a:cubicBezTo>
                  <a:cubicBezTo>
                    <a:pt x="2159" y="944"/>
                    <a:pt x="2170" y="927"/>
                    <a:pt x="2184" y="913"/>
                  </a:cubicBezTo>
                  <a:cubicBezTo>
                    <a:pt x="2198" y="900"/>
                    <a:pt x="2214" y="889"/>
                    <a:pt x="2233" y="881"/>
                  </a:cubicBezTo>
                  <a:cubicBezTo>
                    <a:pt x="2250" y="874"/>
                    <a:pt x="2270" y="870"/>
                    <a:pt x="2290" y="870"/>
                  </a:cubicBezTo>
                  <a:lnTo>
                    <a:pt x="2484" y="870"/>
                  </a:lnTo>
                  <a:lnTo>
                    <a:pt x="2484" y="664"/>
                  </a:lnTo>
                  <a:cubicBezTo>
                    <a:pt x="2484" y="643"/>
                    <a:pt x="2493" y="625"/>
                    <a:pt x="2506" y="611"/>
                  </a:cubicBezTo>
                  <a:lnTo>
                    <a:pt x="2506" y="611"/>
                  </a:lnTo>
                  <a:cubicBezTo>
                    <a:pt x="2520" y="597"/>
                    <a:pt x="2538" y="589"/>
                    <a:pt x="2559" y="589"/>
                  </a:cubicBezTo>
                  <a:cubicBezTo>
                    <a:pt x="2580" y="589"/>
                    <a:pt x="2599" y="597"/>
                    <a:pt x="2612" y="611"/>
                  </a:cubicBezTo>
                  <a:close/>
                  <a:moveTo>
                    <a:pt x="2290" y="1517"/>
                  </a:moveTo>
                  <a:lnTo>
                    <a:pt x="2290" y="1864"/>
                  </a:lnTo>
                  <a:lnTo>
                    <a:pt x="2834" y="1864"/>
                  </a:lnTo>
                  <a:cubicBezTo>
                    <a:pt x="2857" y="1864"/>
                    <a:pt x="2880" y="1860"/>
                    <a:pt x="2900" y="1851"/>
                  </a:cubicBezTo>
                  <a:cubicBezTo>
                    <a:pt x="2921" y="1842"/>
                    <a:pt x="2940" y="1829"/>
                    <a:pt x="2956" y="1813"/>
                  </a:cubicBezTo>
                  <a:cubicBezTo>
                    <a:pt x="2972" y="1797"/>
                    <a:pt x="2985" y="1778"/>
                    <a:pt x="2994" y="1757"/>
                  </a:cubicBezTo>
                  <a:cubicBezTo>
                    <a:pt x="3003" y="1736"/>
                    <a:pt x="3007" y="1714"/>
                    <a:pt x="3007" y="1691"/>
                  </a:cubicBezTo>
                  <a:lnTo>
                    <a:pt x="3007" y="1691"/>
                  </a:lnTo>
                  <a:cubicBezTo>
                    <a:pt x="3007" y="1667"/>
                    <a:pt x="3003" y="1645"/>
                    <a:pt x="2994" y="1624"/>
                  </a:cubicBezTo>
                  <a:cubicBezTo>
                    <a:pt x="2985" y="1603"/>
                    <a:pt x="2972" y="1584"/>
                    <a:pt x="2956" y="1568"/>
                  </a:cubicBezTo>
                  <a:cubicBezTo>
                    <a:pt x="2940" y="1552"/>
                    <a:pt x="2921" y="1539"/>
                    <a:pt x="2900" y="1530"/>
                  </a:cubicBezTo>
                  <a:cubicBezTo>
                    <a:pt x="2880" y="1522"/>
                    <a:pt x="2857" y="1517"/>
                    <a:pt x="2834" y="1517"/>
                  </a:cubicBezTo>
                  <a:lnTo>
                    <a:pt x="2729" y="1517"/>
                  </a:lnTo>
                  <a:lnTo>
                    <a:pt x="2290" y="1517"/>
                  </a:lnTo>
                  <a:close/>
                  <a:moveTo>
                    <a:pt x="2795" y="1033"/>
                  </a:moveTo>
                  <a:cubicBezTo>
                    <a:pt x="2775" y="1024"/>
                    <a:pt x="2753" y="1020"/>
                    <a:pt x="2729" y="1020"/>
                  </a:cubicBezTo>
                  <a:lnTo>
                    <a:pt x="2290" y="1020"/>
                  </a:lnTo>
                  <a:lnTo>
                    <a:pt x="2290" y="1367"/>
                  </a:lnTo>
                  <a:lnTo>
                    <a:pt x="2729" y="1367"/>
                  </a:lnTo>
                  <a:cubicBezTo>
                    <a:pt x="2753" y="1367"/>
                    <a:pt x="2775" y="1362"/>
                    <a:pt x="2795" y="1354"/>
                  </a:cubicBezTo>
                  <a:cubicBezTo>
                    <a:pt x="2817" y="1345"/>
                    <a:pt x="2836" y="1332"/>
                    <a:pt x="2852" y="1316"/>
                  </a:cubicBezTo>
                  <a:cubicBezTo>
                    <a:pt x="2868" y="1300"/>
                    <a:pt x="2881" y="1281"/>
                    <a:pt x="2890" y="1260"/>
                  </a:cubicBezTo>
                  <a:cubicBezTo>
                    <a:pt x="2898" y="1239"/>
                    <a:pt x="2903" y="1217"/>
                    <a:pt x="2903" y="1193"/>
                  </a:cubicBezTo>
                  <a:lnTo>
                    <a:pt x="2903" y="1193"/>
                  </a:lnTo>
                  <a:cubicBezTo>
                    <a:pt x="2903" y="1170"/>
                    <a:pt x="2898" y="1148"/>
                    <a:pt x="2890" y="1127"/>
                  </a:cubicBezTo>
                  <a:cubicBezTo>
                    <a:pt x="2881" y="1106"/>
                    <a:pt x="2868" y="1087"/>
                    <a:pt x="2852" y="1071"/>
                  </a:cubicBezTo>
                  <a:lnTo>
                    <a:pt x="2852" y="1071"/>
                  </a:lnTo>
                  <a:cubicBezTo>
                    <a:pt x="2836" y="1055"/>
                    <a:pt x="2817" y="1042"/>
                    <a:pt x="2795" y="1033"/>
                  </a:cubicBezTo>
                  <a:close/>
                  <a:moveTo>
                    <a:pt x="4577" y="2384"/>
                  </a:moveTo>
                  <a:lnTo>
                    <a:pt x="4577" y="2998"/>
                  </a:lnTo>
                  <a:cubicBezTo>
                    <a:pt x="4695" y="2986"/>
                    <a:pt x="4807" y="2953"/>
                    <a:pt x="4910" y="2905"/>
                  </a:cubicBezTo>
                  <a:cubicBezTo>
                    <a:pt x="5018" y="2854"/>
                    <a:pt x="5116" y="2784"/>
                    <a:pt x="5200" y="2700"/>
                  </a:cubicBezTo>
                  <a:cubicBezTo>
                    <a:pt x="5296" y="2605"/>
                    <a:pt x="5373" y="2490"/>
                    <a:pt x="5425" y="2364"/>
                  </a:cubicBezTo>
                  <a:cubicBezTo>
                    <a:pt x="5476" y="2242"/>
                    <a:pt x="5504" y="2108"/>
                    <a:pt x="5504" y="1968"/>
                  </a:cubicBezTo>
                  <a:cubicBezTo>
                    <a:pt x="5504" y="1827"/>
                    <a:pt x="5476" y="1693"/>
                    <a:pt x="5425" y="1571"/>
                  </a:cubicBezTo>
                  <a:cubicBezTo>
                    <a:pt x="5373" y="1445"/>
                    <a:pt x="5296" y="1331"/>
                    <a:pt x="5200" y="1235"/>
                  </a:cubicBezTo>
                  <a:cubicBezTo>
                    <a:pt x="5105" y="1140"/>
                    <a:pt x="4991" y="1063"/>
                    <a:pt x="4864" y="1010"/>
                  </a:cubicBezTo>
                  <a:cubicBezTo>
                    <a:pt x="4742" y="959"/>
                    <a:pt x="4608" y="932"/>
                    <a:pt x="4468" y="932"/>
                  </a:cubicBezTo>
                  <a:cubicBezTo>
                    <a:pt x="4434" y="932"/>
                    <a:pt x="4400" y="933"/>
                    <a:pt x="4368" y="936"/>
                  </a:cubicBezTo>
                  <a:cubicBezTo>
                    <a:pt x="4335" y="939"/>
                    <a:pt x="4302" y="944"/>
                    <a:pt x="4270" y="950"/>
                  </a:cubicBezTo>
                  <a:cubicBezTo>
                    <a:pt x="4237" y="957"/>
                    <a:pt x="4205" y="964"/>
                    <a:pt x="4173" y="974"/>
                  </a:cubicBezTo>
                  <a:cubicBezTo>
                    <a:pt x="4141" y="983"/>
                    <a:pt x="4110" y="994"/>
                    <a:pt x="4080" y="1007"/>
                  </a:cubicBezTo>
                  <a:lnTo>
                    <a:pt x="4017" y="1032"/>
                  </a:lnTo>
                  <a:lnTo>
                    <a:pt x="4009" y="1035"/>
                  </a:lnTo>
                  <a:lnTo>
                    <a:pt x="4006" y="1027"/>
                  </a:lnTo>
                  <a:lnTo>
                    <a:pt x="3982" y="964"/>
                  </a:lnTo>
                  <a:cubicBezTo>
                    <a:pt x="3927" y="822"/>
                    <a:pt x="3852" y="690"/>
                    <a:pt x="3759" y="572"/>
                  </a:cubicBezTo>
                  <a:cubicBezTo>
                    <a:pt x="3665" y="453"/>
                    <a:pt x="3554" y="349"/>
                    <a:pt x="3429" y="263"/>
                  </a:cubicBezTo>
                  <a:cubicBezTo>
                    <a:pt x="3306" y="179"/>
                    <a:pt x="3170" y="112"/>
                    <a:pt x="3025" y="67"/>
                  </a:cubicBezTo>
                  <a:cubicBezTo>
                    <a:pt x="2884" y="23"/>
                    <a:pt x="2734" y="0"/>
                    <a:pt x="2579" y="0"/>
                  </a:cubicBezTo>
                  <a:cubicBezTo>
                    <a:pt x="2376" y="0"/>
                    <a:pt x="2182" y="41"/>
                    <a:pt x="2005" y="114"/>
                  </a:cubicBezTo>
                  <a:cubicBezTo>
                    <a:pt x="1821" y="190"/>
                    <a:pt x="1656" y="302"/>
                    <a:pt x="1517" y="440"/>
                  </a:cubicBezTo>
                  <a:cubicBezTo>
                    <a:pt x="1379" y="578"/>
                    <a:pt x="1267" y="744"/>
                    <a:pt x="1191" y="927"/>
                  </a:cubicBezTo>
                  <a:cubicBezTo>
                    <a:pt x="1118" y="1104"/>
                    <a:pt x="1078" y="1298"/>
                    <a:pt x="1078" y="1502"/>
                  </a:cubicBezTo>
                  <a:cubicBezTo>
                    <a:pt x="1078" y="1513"/>
                    <a:pt x="1078" y="1515"/>
                    <a:pt x="1077" y="1515"/>
                  </a:cubicBezTo>
                  <a:lnTo>
                    <a:pt x="1077" y="1516"/>
                  </a:lnTo>
                  <a:cubicBezTo>
                    <a:pt x="1077" y="1516"/>
                    <a:pt x="1077" y="1516"/>
                    <a:pt x="1077" y="1518"/>
                  </a:cubicBezTo>
                  <a:lnTo>
                    <a:pt x="1078" y="1525"/>
                  </a:lnTo>
                  <a:lnTo>
                    <a:pt x="1078" y="1534"/>
                  </a:lnTo>
                  <a:lnTo>
                    <a:pt x="1080" y="1632"/>
                  </a:lnTo>
                  <a:lnTo>
                    <a:pt x="1080" y="1645"/>
                  </a:lnTo>
                  <a:lnTo>
                    <a:pt x="1068" y="1640"/>
                  </a:lnTo>
                  <a:lnTo>
                    <a:pt x="977" y="1605"/>
                  </a:lnTo>
                  <a:cubicBezTo>
                    <a:pt x="956" y="1598"/>
                    <a:pt x="936" y="1591"/>
                    <a:pt x="915" y="1585"/>
                  </a:cubicBezTo>
                  <a:cubicBezTo>
                    <a:pt x="894" y="1580"/>
                    <a:pt x="873" y="1575"/>
                    <a:pt x="852" y="1571"/>
                  </a:cubicBezTo>
                  <a:cubicBezTo>
                    <a:pt x="831" y="1567"/>
                    <a:pt x="810" y="1564"/>
                    <a:pt x="788" y="1562"/>
                  </a:cubicBezTo>
                  <a:cubicBezTo>
                    <a:pt x="766" y="1560"/>
                    <a:pt x="744" y="1559"/>
                    <a:pt x="722" y="1559"/>
                  </a:cubicBezTo>
                  <a:cubicBezTo>
                    <a:pt x="522" y="1559"/>
                    <a:pt x="342" y="1640"/>
                    <a:pt x="211" y="1771"/>
                  </a:cubicBezTo>
                  <a:cubicBezTo>
                    <a:pt x="145" y="1838"/>
                    <a:pt x="91" y="1917"/>
                    <a:pt x="55" y="2005"/>
                  </a:cubicBezTo>
                  <a:cubicBezTo>
                    <a:pt x="19" y="2090"/>
                    <a:pt x="0" y="2184"/>
                    <a:pt x="0" y="2282"/>
                  </a:cubicBezTo>
                  <a:cubicBezTo>
                    <a:pt x="0" y="2481"/>
                    <a:pt x="81" y="2661"/>
                    <a:pt x="211" y="2792"/>
                  </a:cubicBezTo>
                  <a:cubicBezTo>
                    <a:pt x="271" y="2851"/>
                    <a:pt x="340" y="2900"/>
                    <a:pt x="417" y="2936"/>
                  </a:cubicBezTo>
                  <a:cubicBezTo>
                    <a:pt x="489" y="2970"/>
                    <a:pt x="568" y="2992"/>
                    <a:pt x="650" y="3000"/>
                  </a:cubicBezTo>
                  <a:lnTo>
                    <a:pt x="650" y="2648"/>
                  </a:lnTo>
                  <a:cubicBezTo>
                    <a:pt x="615" y="2641"/>
                    <a:pt x="582" y="2629"/>
                    <a:pt x="551" y="2613"/>
                  </a:cubicBezTo>
                  <a:cubicBezTo>
                    <a:pt x="517" y="2595"/>
                    <a:pt x="487" y="2573"/>
                    <a:pt x="460" y="2546"/>
                  </a:cubicBezTo>
                  <a:cubicBezTo>
                    <a:pt x="425" y="2511"/>
                    <a:pt x="398" y="2470"/>
                    <a:pt x="379" y="2424"/>
                  </a:cubicBezTo>
                  <a:cubicBezTo>
                    <a:pt x="360" y="2380"/>
                    <a:pt x="350" y="2332"/>
                    <a:pt x="350" y="2281"/>
                  </a:cubicBezTo>
                  <a:cubicBezTo>
                    <a:pt x="350" y="2230"/>
                    <a:pt x="360" y="2182"/>
                    <a:pt x="379" y="2138"/>
                  </a:cubicBezTo>
                  <a:cubicBezTo>
                    <a:pt x="398" y="2092"/>
                    <a:pt x="425" y="2050"/>
                    <a:pt x="460" y="2016"/>
                  </a:cubicBezTo>
                  <a:cubicBezTo>
                    <a:pt x="495" y="1981"/>
                    <a:pt x="536" y="1954"/>
                    <a:pt x="582" y="1935"/>
                  </a:cubicBezTo>
                  <a:cubicBezTo>
                    <a:pt x="626" y="1916"/>
                    <a:pt x="674" y="1906"/>
                    <a:pt x="725" y="1906"/>
                  </a:cubicBezTo>
                  <a:cubicBezTo>
                    <a:pt x="776" y="1906"/>
                    <a:pt x="824" y="1916"/>
                    <a:pt x="868" y="1935"/>
                  </a:cubicBezTo>
                  <a:cubicBezTo>
                    <a:pt x="914" y="1954"/>
                    <a:pt x="956" y="1981"/>
                    <a:pt x="990" y="2016"/>
                  </a:cubicBezTo>
                  <a:cubicBezTo>
                    <a:pt x="1025" y="2050"/>
                    <a:pt x="1052" y="2092"/>
                    <a:pt x="1071" y="2138"/>
                  </a:cubicBezTo>
                  <a:cubicBezTo>
                    <a:pt x="1090" y="2182"/>
                    <a:pt x="1100" y="2230"/>
                    <a:pt x="1100" y="2281"/>
                  </a:cubicBezTo>
                  <a:cubicBezTo>
                    <a:pt x="1100" y="2332"/>
                    <a:pt x="1090" y="2380"/>
                    <a:pt x="1071" y="2424"/>
                  </a:cubicBezTo>
                  <a:cubicBezTo>
                    <a:pt x="1052" y="2470"/>
                    <a:pt x="1025" y="2511"/>
                    <a:pt x="990" y="2546"/>
                  </a:cubicBezTo>
                  <a:cubicBezTo>
                    <a:pt x="964" y="2573"/>
                    <a:pt x="933" y="2595"/>
                    <a:pt x="899" y="2613"/>
                  </a:cubicBezTo>
                  <a:cubicBezTo>
                    <a:pt x="869" y="2629"/>
                    <a:pt x="835" y="2641"/>
                    <a:pt x="800" y="2648"/>
                  </a:cubicBezTo>
                  <a:lnTo>
                    <a:pt x="800" y="3003"/>
                  </a:lnTo>
                  <a:lnTo>
                    <a:pt x="2514" y="3003"/>
                  </a:lnTo>
                  <a:lnTo>
                    <a:pt x="2514" y="2632"/>
                  </a:lnTo>
                  <a:cubicBezTo>
                    <a:pt x="2371" y="2623"/>
                    <a:pt x="2234" y="2589"/>
                    <a:pt x="2109" y="2533"/>
                  </a:cubicBezTo>
                  <a:cubicBezTo>
                    <a:pt x="1977" y="2474"/>
                    <a:pt x="1859" y="2391"/>
                    <a:pt x="1758" y="2291"/>
                  </a:cubicBezTo>
                  <a:cubicBezTo>
                    <a:pt x="1650" y="2182"/>
                    <a:pt x="1562" y="2053"/>
                    <a:pt x="1503" y="1909"/>
                  </a:cubicBezTo>
                  <a:cubicBezTo>
                    <a:pt x="1445" y="1770"/>
                    <a:pt x="1414" y="1618"/>
                    <a:pt x="1414" y="1459"/>
                  </a:cubicBezTo>
                  <a:cubicBezTo>
                    <a:pt x="1414" y="1300"/>
                    <a:pt x="1445" y="1148"/>
                    <a:pt x="1503" y="1010"/>
                  </a:cubicBezTo>
                  <a:cubicBezTo>
                    <a:pt x="1562" y="866"/>
                    <a:pt x="1650" y="736"/>
                    <a:pt x="1758" y="628"/>
                  </a:cubicBezTo>
                  <a:cubicBezTo>
                    <a:pt x="1866" y="520"/>
                    <a:pt x="1996" y="432"/>
                    <a:pt x="2140" y="373"/>
                  </a:cubicBezTo>
                  <a:cubicBezTo>
                    <a:pt x="2278" y="315"/>
                    <a:pt x="2430" y="284"/>
                    <a:pt x="2589" y="284"/>
                  </a:cubicBezTo>
                  <a:cubicBezTo>
                    <a:pt x="2914" y="284"/>
                    <a:pt x="3208" y="415"/>
                    <a:pt x="3421" y="628"/>
                  </a:cubicBezTo>
                  <a:cubicBezTo>
                    <a:pt x="3529" y="736"/>
                    <a:pt x="3616" y="866"/>
                    <a:pt x="3676" y="1010"/>
                  </a:cubicBezTo>
                  <a:cubicBezTo>
                    <a:pt x="3733" y="1148"/>
                    <a:pt x="3765" y="1300"/>
                    <a:pt x="3765" y="1459"/>
                  </a:cubicBezTo>
                  <a:cubicBezTo>
                    <a:pt x="3765" y="1618"/>
                    <a:pt x="3733" y="1770"/>
                    <a:pt x="3676" y="1909"/>
                  </a:cubicBezTo>
                  <a:cubicBezTo>
                    <a:pt x="3616" y="2053"/>
                    <a:pt x="3529" y="2182"/>
                    <a:pt x="3421" y="2291"/>
                  </a:cubicBezTo>
                  <a:cubicBezTo>
                    <a:pt x="3320" y="2391"/>
                    <a:pt x="3201" y="2474"/>
                    <a:pt x="3070" y="2533"/>
                  </a:cubicBezTo>
                  <a:cubicBezTo>
                    <a:pt x="2945" y="2589"/>
                    <a:pt x="2808" y="2623"/>
                    <a:pt x="2664" y="2632"/>
                  </a:cubicBezTo>
                  <a:lnTo>
                    <a:pt x="2664" y="3003"/>
                  </a:lnTo>
                  <a:lnTo>
                    <a:pt x="4427" y="3003"/>
                  </a:lnTo>
                  <a:lnTo>
                    <a:pt x="4427" y="2384"/>
                  </a:lnTo>
                  <a:cubicBezTo>
                    <a:pt x="4384" y="2377"/>
                    <a:pt x="4342" y="2363"/>
                    <a:pt x="4304" y="2344"/>
                  </a:cubicBezTo>
                  <a:cubicBezTo>
                    <a:pt x="4264" y="2323"/>
                    <a:pt x="4226" y="2295"/>
                    <a:pt x="4194" y="2263"/>
                  </a:cubicBezTo>
                  <a:cubicBezTo>
                    <a:pt x="4154" y="2223"/>
                    <a:pt x="4122" y="2175"/>
                    <a:pt x="4100" y="2122"/>
                  </a:cubicBezTo>
                  <a:cubicBezTo>
                    <a:pt x="4078" y="2070"/>
                    <a:pt x="4067" y="2014"/>
                    <a:pt x="4067" y="1955"/>
                  </a:cubicBezTo>
                  <a:cubicBezTo>
                    <a:pt x="4067" y="1897"/>
                    <a:pt x="4078" y="1840"/>
                    <a:pt x="4100" y="1789"/>
                  </a:cubicBezTo>
                  <a:cubicBezTo>
                    <a:pt x="4122" y="1736"/>
                    <a:pt x="4154" y="1688"/>
                    <a:pt x="4194" y="1648"/>
                  </a:cubicBezTo>
                  <a:cubicBezTo>
                    <a:pt x="4234" y="1607"/>
                    <a:pt x="4282" y="1575"/>
                    <a:pt x="4335" y="1553"/>
                  </a:cubicBezTo>
                  <a:cubicBezTo>
                    <a:pt x="4387" y="1532"/>
                    <a:pt x="4443" y="1520"/>
                    <a:pt x="4502" y="1520"/>
                  </a:cubicBezTo>
                  <a:cubicBezTo>
                    <a:pt x="4561" y="1520"/>
                    <a:pt x="4617" y="1532"/>
                    <a:pt x="4668" y="1553"/>
                  </a:cubicBezTo>
                  <a:cubicBezTo>
                    <a:pt x="4722" y="1575"/>
                    <a:pt x="4770" y="1607"/>
                    <a:pt x="4810" y="1648"/>
                  </a:cubicBezTo>
                  <a:cubicBezTo>
                    <a:pt x="4850" y="1688"/>
                    <a:pt x="4882" y="1736"/>
                    <a:pt x="4904" y="1789"/>
                  </a:cubicBezTo>
                  <a:cubicBezTo>
                    <a:pt x="4926" y="1840"/>
                    <a:pt x="4937" y="1897"/>
                    <a:pt x="4937" y="1955"/>
                  </a:cubicBezTo>
                  <a:cubicBezTo>
                    <a:pt x="4937" y="2014"/>
                    <a:pt x="4926" y="2070"/>
                    <a:pt x="4904" y="2122"/>
                  </a:cubicBezTo>
                  <a:cubicBezTo>
                    <a:pt x="4882" y="2175"/>
                    <a:pt x="4850" y="2223"/>
                    <a:pt x="4810" y="2263"/>
                  </a:cubicBezTo>
                  <a:cubicBezTo>
                    <a:pt x="4778" y="2295"/>
                    <a:pt x="4740" y="2323"/>
                    <a:pt x="4699" y="2344"/>
                  </a:cubicBezTo>
                  <a:cubicBezTo>
                    <a:pt x="4661" y="2363"/>
                    <a:pt x="4620" y="2377"/>
                    <a:pt x="4577" y="2384"/>
                  </a:cubicBezTo>
                  <a:lnTo>
                    <a:pt x="4577" y="2384"/>
                  </a:ln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11" name="Digital_Object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2ADB109-A77B-4C9D-90B5-E22FCBC809F6}"/>
                </a:ext>
              </a:extLst>
            </p:cNvPr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291757" y="3569775"/>
              <a:ext cx="354386" cy="448698"/>
            </a:xfrm>
            <a:custGeom>
              <a:avLst/>
              <a:gdLst>
                <a:gd name="T0" fmla="*/ 990 w 990"/>
                <a:gd name="T1" fmla="*/ 130 h 1250"/>
                <a:gd name="T2" fmla="*/ 859 w 990"/>
                <a:gd name="T3" fmla="*/ 0 h 1250"/>
                <a:gd name="T4" fmla="*/ 729 w 990"/>
                <a:gd name="T5" fmla="*/ 130 h 1250"/>
                <a:gd name="T6" fmla="*/ 833 w 990"/>
                <a:gd name="T7" fmla="*/ 258 h 1250"/>
                <a:gd name="T8" fmla="*/ 833 w 990"/>
                <a:gd name="T9" fmla="*/ 456 h 1250"/>
                <a:gd name="T10" fmla="*/ 521 w 990"/>
                <a:gd name="T11" fmla="*/ 702 h 1250"/>
                <a:gd name="T12" fmla="*/ 521 w 990"/>
                <a:gd name="T13" fmla="*/ 466 h 1250"/>
                <a:gd name="T14" fmla="*/ 625 w 990"/>
                <a:gd name="T15" fmla="*/ 339 h 1250"/>
                <a:gd name="T16" fmla="*/ 495 w 990"/>
                <a:gd name="T17" fmla="*/ 208 h 1250"/>
                <a:gd name="T18" fmla="*/ 365 w 990"/>
                <a:gd name="T19" fmla="*/ 339 h 1250"/>
                <a:gd name="T20" fmla="*/ 469 w 990"/>
                <a:gd name="T21" fmla="*/ 466 h 1250"/>
                <a:gd name="T22" fmla="*/ 469 w 990"/>
                <a:gd name="T23" fmla="*/ 702 h 1250"/>
                <a:gd name="T24" fmla="*/ 156 w 990"/>
                <a:gd name="T25" fmla="*/ 456 h 1250"/>
                <a:gd name="T26" fmla="*/ 156 w 990"/>
                <a:gd name="T27" fmla="*/ 258 h 1250"/>
                <a:gd name="T28" fmla="*/ 260 w 990"/>
                <a:gd name="T29" fmla="*/ 130 h 1250"/>
                <a:gd name="T30" fmla="*/ 130 w 990"/>
                <a:gd name="T31" fmla="*/ 0 h 1250"/>
                <a:gd name="T32" fmla="*/ 0 w 990"/>
                <a:gd name="T33" fmla="*/ 130 h 1250"/>
                <a:gd name="T34" fmla="*/ 104 w 990"/>
                <a:gd name="T35" fmla="*/ 258 h 1250"/>
                <a:gd name="T36" fmla="*/ 104 w 990"/>
                <a:gd name="T37" fmla="*/ 481 h 1250"/>
                <a:gd name="T38" fmla="*/ 469 w 990"/>
                <a:gd name="T39" fmla="*/ 768 h 1250"/>
                <a:gd name="T40" fmla="*/ 469 w 990"/>
                <a:gd name="T41" fmla="*/ 992 h 1250"/>
                <a:gd name="T42" fmla="*/ 365 w 990"/>
                <a:gd name="T43" fmla="*/ 1120 h 1250"/>
                <a:gd name="T44" fmla="*/ 495 w 990"/>
                <a:gd name="T45" fmla="*/ 1250 h 1250"/>
                <a:gd name="T46" fmla="*/ 625 w 990"/>
                <a:gd name="T47" fmla="*/ 1120 h 1250"/>
                <a:gd name="T48" fmla="*/ 521 w 990"/>
                <a:gd name="T49" fmla="*/ 992 h 1250"/>
                <a:gd name="T50" fmla="*/ 521 w 990"/>
                <a:gd name="T51" fmla="*/ 768 h 1250"/>
                <a:gd name="T52" fmla="*/ 885 w 990"/>
                <a:gd name="T53" fmla="*/ 481 h 1250"/>
                <a:gd name="T54" fmla="*/ 885 w 990"/>
                <a:gd name="T55" fmla="*/ 258 h 1250"/>
                <a:gd name="T56" fmla="*/ 990 w 990"/>
                <a:gd name="T57" fmla="*/ 130 h 1250"/>
                <a:gd name="T58" fmla="*/ 52 w 990"/>
                <a:gd name="T59" fmla="*/ 130 h 1250"/>
                <a:gd name="T60" fmla="*/ 130 w 990"/>
                <a:gd name="T61" fmla="*/ 52 h 1250"/>
                <a:gd name="T62" fmla="*/ 208 w 990"/>
                <a:gd name="T63" fmla="*/ 130 h 1250"/>
                <a:gd name="T64" fmla="*/ 130 w 990"/>
                <a:gd name="T65" fmla="*/ 208 h 1250"/>
                <a:gd name="T66" fmla="*/ 52 w 990"/>
                <a:gd name="T67" fmla="*/ 130 h 1250"/>
                <a:gd name="T68" fmla="*/ 859 w 990"/>
                <a:gd name="T69" fmla="*/ 208 h 1250"/>
                <a:gd name="T70" fmla="*/ 781 w 990"/>
                <a:gd name="T71" fmla="*/ 130 h 1250"/>
                <a:gd name="T72" fmla="*/ 859 w 990"/>
                <a:gd name="T73" fmla="*/ 52 h 1250"/>
                <a:gd name="T74" fmla="*/ 938 w 990"/>
                <a:gd name="T75" fmla="*/ 130 h 1250"/>
                <a:gd name="T76" fmla="*/ 859 w 990"/>
                <a:gd name="T77" fmla="*/ 208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0" h="1250">
                  <a:moveTo>
                    <a:pt x="990" y="130"/>
                  </a:moveTo>
                  <a:cubicBezTo>
                    <a:pt x="990" y="58"/>
                    <a:pt x="931" y="0"/>
                    <a:pt x="859" y="0"/>
                  </a:cubicBezTo>
                  <a:cubicBezTo>
                    <a:pt x="788" y="0"/>
                    <a:pt x="729" y="58"/>
                    <a:pt x="729" y="130"/>
                  </a:cubicBezTo>
                  <a:cubicBezTo>
                    <a:pt x="729" y="193"/>
                    <a:pt x="774" y="246"/>
                    <a:pt x="833" y="258"/>
                  </a:cubicBezTo>
                  <a:lnTo>
                    <a:pt x="833" y="456"/>
                  </a:lnTo>
                  <a:lnTo>
                    <a:pt x="521" y="702"/>
                  </a:lnTo>
                  <a:lnTo>
                    <a:pt x="521" y="466"/>
                  </a:lnTo>
                  <a:cubicBezTo>
                    <a:pt x="580" y="454"/>
                    <a:pt x="625" y="401"/>
                    <a:pt x="625" y="339"/>
                  </a:cubicBezTo>
                  <a:cubicBezTo>
                    <a:pt x="625" y="267"/>
                    <a:pt x="567" y="208"/>
                    <a:pt x="495" y="208"/>
                  </a:cubicBezTo>
                  <a:cubicBezTo>
                    <a:pt x="423" y="208"/>
                    <a:pt x="365" y="267"/>
                    <a:pt x="365" y="339"/>
                  </a:cubicBezTo>
                  <a:cubicBezTo>
                    <a:pt x="365" y="401"/>
                    <a:pt x="409" y="454"/>
                    <a:pt x="469" y="466"/>
                  </a:cubicBezTo>
                  <a:lnTo>
                    <a:pt x="469" y="702"/>
                  </a:lnTo>
                  <a:lnTo>
                    <a:pt x="156" y="456"/>
                  </a:lnTo>
                  <a:lnTo>
                    <a:pt x="156" y="258"/>
                  </a:lnTo>
                  <a:cubicBezTo>
                    <a:pt x="216" y="246"/>
                    <a:pt x="260" y="193"/>
                    <a:pt x="260" y="130"/>
                  </a:cubicBezTo>
                  <a:cubicBezTo>
                    <a:pt x="260" y="58"/>
                    <a:pt x="202" y="0"/>
                    <a:pt x="130" y="0"/>
                  </a:cubicBezTo>
                  <a:cubicBezTo>
                    <a:pt x="58" y="0"/>
                    <a:pt x="0" y="58"/>
                    <a:pt x="0" y="130"/>
                  </a:cubicBezTo>
                  <a:cubicBezTo>
                    <a:pt x="0" y="193"/>
                    <a:pt x="45" y="246"/>
                    <a:pt x="104" y="258"/>
                  </a:cubicBezTo>
                  <a:lnTo>
                    <a:pt x="104" y="481"/>
                  </a:lnTo>
                  <a:lnTo>
                    <a:pt x="469" y="768"/>
                  </a:lnTo>
                  <a:lnTo>
                    <a:pt x="469" y="992"/>
                  </a:lnTo>
                  <a:cubicBezTo>
                    <a:pt x="409" y="1004"/>
                    <a:pt x="365" y="1057"/>
                    <a:pt x="365" y="1120"/>
                  </a:cubicBezTo>
                  <a:cubicBezTo>
                    <a:pt x="365" y="1192"/>
                    <a:pt x="423" y="1250"/>
                    <a:pt x="495" y="1250"/>
                  </a:cubicBezTo>
                  <a:cubicBezTo>
                    <a:pt x="567" y="1250"/>
                    <a:pt x="625" y="1192"/>
                    <a:pt x="625" y="1120"/>
                  </a:cubicBezTo>
                  <a:cubicBezTo>
                    <a:pt x="625" y="1057"/>
                    <a:pt x="580" y="1004"/>
                    <a:pt x="521" y="992"/>
                  </a:cubicBezTo>
                  <a:lnTo>
                    <a:pt x="521" y="768"/>
                  </a:lnTo>
                  <a:lnTo>
                    <a:pt x="885" y="481"/>
                  </a:lnTo>
                  <a:lnTo>
                    <a:pt x="885" y="258"/>
                  </a:lnTo>
                  <a:cubicBezTo>
                    <a:pt x="945" y="246"/>
                    <a:pt x="990" y="193"/>
                    <a:pt x="990" y="130"/>
                  </a:cubicBezTo>
                  <a:close/>
                  <a:moveTo>
                    <a:pt x="52" y="130"/>
                  </a:moveTo>
                  <a:cubicBezTo>
                    <a:pt x="52" y="87"/>
                    <a:pt x="87" y="52"/>
                    <a:pt x="130" y="52"/>
                  </a:cubicBezTo>
                  <a:cubicBezTo>
                    <a:pt x="173" y="52"/>
                    <a:pt x="208" y="87"/>
                    <a:pt x="208" y="130"/>
                  </a:cubicBezTo>
                  <a:cubicBezTo>
                    <a:pt x="208" y="173"/>
                    <a:pt x="173" y="208"/>
                    <a:pt x="130" y="208"/>
                  </a:cubicBezTo>
                  <a:cubicBezTo>
                    <a:pt x="87" y="208"/>
                    <a:pt x="52" y="173"/>
                    <a:pt x="52" y="130"/>
                  </a:cubicBezTo>
                  <a:close/>
                  <a:moveTo>
                    <a:pt x="859" y="208"/>
                  </a:moveTo>
                  <a:cubicBezTo>
                    <a:pt x="816" y="208"/>
                    <a:pt x="781" y="173"/>
                    <a:pt x="781" y="130"/>
                  </a:cubicBezTo>
                  <a:cubicBezTo>
                    <a:pt x="781" y="87"/>
                    <a:pt x="816" y="52"/>
                    <a:pt x="859" y="52"/>
                  </a:cubicBezTo>
                  <a:cubicBezTo>
                    <a:pt x="902" y="52"/>
                    <a:pt x="938" y="87"/>
                    <a:pt x="938" y="130"/>
                  </a:cubicBezTo>
                  <a:cubicBezTo>
                    <a:pt x="938" y="173"/>
                    <a:pt x="902" y="208"/>
                    <a:pt x="859" y="208"/>
                  </a:cubicBezTo>
                  <a:close/>
                </a:path>
              </a:pathLst>
            </a:custGeom>
            <a:solidFill>
              <a:srgbClr val="ED7D3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712" name="Smartphone4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D24B68F-BD2A-42E6-B564-2B5E1035CE15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5790033" y="4279043"/>
              <a:ext cx="367534" cy="542925"/>
              <a:chOff x="4370388" y="269875"/>
              <a:chExt cx="592138" cy="874713"/>
            </a:xfrm>
            <a:solidFill>
              <a:srgbClr val="5B9BD5"/>
            </a:solidFill>
          </p:grpSpPr>
          <p:sp>
            <p:nvSpPr>
              <p:cNvPr id="713" name="Freeform 69">
                <a:extLst>
                  <a:ext uri="{FF2B5EF4-FFF2-40B4-BE49-F238E27FC236}">
                    <a16:creationId xmlns:a16="http://schemas.microsoft.com/office/drawing/2014/main" id="{82482C8B-5DB3-4107-A94D-28B5CD1B76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038" y="371475"/>
                <a:ext cx="61913" cy="96838"/>
              </a:xfrm>
              <a:custGeom>
                <a:avLst/>
                <a:gdLst>
                  <a:gd name="T0" fmla="*/ 77 w 88"/>
                  <a:gd name="T1" fmla="*/ 38 h 134"/>
                  <a:gd name="T2" fmla="*/ 27 w 88"/>
                  <a:gd name="T3" fmla="*/ 4 h 134"/>
                  <a:gd name="T4" fmla="*/ 0 w 88"/>
                  <a:gd name="T5" fmla="*/ 14 h 134"/>
                  <a:gd name="T6" fmla="*/ 0 w 88"/>
                  <a:gd name="T7" fmla="*/ 134 h 134"/>
                  <a:gd name="T8" fmla="*/ 48 w 88"/>
                  <a:gd name="T9" fmla="*/ 111 h 134"/>
                  <a:gd name="T10" fmla="*/ 77 w 88"/>
                  <a:gd name="T11" fmla="*/ 3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8" h="134">
                    <a:moveTo>
                      <a:pt x="77" y="38"/>
                    </a:moveTo>
                    <a:cubicBezTo>
                      <a:pt x="67" y="15"/>
                      <a:pt x="44" y="0"/>
                      <a:pt x="27" y="4"/>
                    </a:cubicBezTo>
                    <a:cubicBezTo>
                      <a:pt x="20" y="6"/>
                      <a:pt x="9" y="10"/>
                      <a:pt x="0" y="14"/>
                    </a:cubicBezTo>
                    <a:lnTo>
                      <a:pt x="0" y="134"/>
                    </a:lnTo>
                    <a:lnTo>
                      <a:pt x="48" y="111"/>
                    </a:lnTo>
                    <a:cubicBezTo>
                      <a:pt x="75" y="99"/>
                      <a:pt x="88" y="66"/>
                      <a:pt x="77" y="38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14" name="Freeform 70">
                <a:extLst>
                  <a:ext uri="{FF2B5EF4-FFF2-40B4-BE49-F238E27FC236}">
                    <a16:creationId xmlns:a16="http://schemas.microsoft.com/office/drawing/2014/main" id="{670A5203-D90F-439F-8963-7DA2267D5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0388" y="339725"/>
                <a:ext cx="152400" cy="517525"/>
              </a:xfrm>
              <a:custGeom>
                <a:avLst/>
                <a:gdLst>
                  <a:gd name="T0" fmla="*/ 167 w 214"/>
                  <a:gd name="T1" fmla="*/ 727 h 727"/>
                  <a:gd name="T2" fmla="*/ 214 w 214"/>
                  <a:gd name="T3" fmla="*/ 651 h 727"/>
                  <a:gd name="T4" fmla="*/ 179 w 214"/>
                  <a:gd name="T5" fmla="*/ 574 h 727"/>
                  <a:gd name="T6" fmla="*/ 179 w 214"/>
                  <a:gd name="T7" fmla="*/ 44 h 727"/>
                  <a:gd name="T8" fmla="*/ 86 w 214"/>
                  <a:gd name="T9" fmla="*/ 11 h 727"/>
                  <a:gd name="T10" fmla="*/ 59 w 214"/>
                  <a:gd name="T11" fmla="*/ 276 h 727"/>
                  <a:gd name="T12" fmla="*/ 11 w 214"/>
                  <a:gd name="T13" fmla="*/ 464 h 727"/>
                  <a:gd name="T14" fmla="*/ 167 w 214"/>
                  <a:gd name="T15" fmla="*/ 727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4" h="727">
                    <a:moveTo>
                      <a:pt x="167" y="727"/>
                    </a:moveTo>
                    <a:cubicBezTo>
                      <a:pt x="163" y="706"/>
                      <a:pt x="184" y="663"/>
                      <a:pt x="214" y="651"/>
                    </a:cubicBezTo>
                    <a:cubicBezTo>
                      <a:pt x="192" y="633"/>
                      <a:pt x="179" y="605"/>
                      <a:pt x="179" y="574"/>
                    </a:cubicBezTo>
                    <a:lnTo>
                      <a:pt x="179" y="44"/>
                    </a:lnTo>
                    <a:cubicBezTo>
                      <a:pt x="150" y="4"/>
                      <a:pt x="105" y="0"/>
                      <a:pt x="86" y="11"/>
                    </a:cubicBezTo>
                    <a:cubicBezTo>
                      <a:pt x="63" y="25"/>
                      <a:pt x="114" y="113"/>
                      <a:pt x="59" y="276"/>
                    </a:cubicBezTo>
                    <a:cubicBezTo>
                      <a:pt x="36" y="343"/>
                      <a:pt x="15" y="409"/>
                      <a:pt x="11" y="464"/>
                    </a:cubicBezTo>
                    <a:cubicBezTo>
                      <a:pt x="0" y="597"/>
                      <a:pt x="76" y="690"/>
                      <a:pt x="167" y="72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15" name="Freeform 71">
                <a:extLst>
                  <a:ext uri="{FF2B5EF4-FFF2-40B4-BE49-F238E27FC236}">
                    <a16:creationId xmlns:a16="http://schemas.microsoft.com/office/drawing/2014/main" id="{C5A877DF-E675-4EBE-94B1-07DC1AD4C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4563" y="692150"/>
                <a:ext cx="31750" cy="42863"/>
              </a:xfrm>
              <a:custGeom>
                <a:avLst/>
                <a:gdLst>
                  <a:gd name="T0" fmla="*/ 0 w 44"/>
                  <a:gd name="T1" fmla="*/ 0 h 60"/>
                  <a:gd name="T2" fmla="*/ 0 w 44"/>
                  <a:gd name="T3" fmla="*/ 58 h 60"/>
                  <a:gd name="T4" fmla="*/ 16 w 44"/>
                  <a:gd name="T5" fmla="*/ 57 h 60"/>
                  <a:gd name="T6" fmla="*/ 39 w 44"/>
                  <a:gd name="T7" fmla="*/ 60 h 60"/>
                  <a:gd name="T8" fmla="*/ 44 w 44"/>
                  <a:gd name="T9" fmla="*/ 0 h 60"/>
                  <a:gd name="T10" fmla="*/ 0 w 44"/>
                  <a:gd name="T1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0" y="0"/>
                    </a:moveTo>
                    <a:lnTo>
                      <a:pt x="0" y="58"/>
                    </a:lnTo>
                    <a:cubicBezTo>
                      <a:pt x="5" y="57"/>
                      <a:pt x="11" y="57"/>
                      <a:pt x="16" y="57"/>
                    </a:cubicBezTo>
                    <a:cubicBezTo>
                      <a:pt x="24" y="57"/>
                      <a:pt x="32" y="58"/>
                      <a:pt x="39" y="60"/>
                    </a:cubicBezTo>
                    <a:cubicBezTo>
                      <a:pt x="33" y="39"/>
                      <a:pt x="35" y="18"/>
                      <a:pt x="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16" name="Freeform 72">
                <a:extLst>
                  <a:ext uri="{FF2B5EF4-FFF2-40B4-BE49-F238E27FC236}">
                    <a16:creationId xmlns:a16="http://schemas.microsoft.com/office/drawing/2014/main" id="{A824686D-0478-435F-BCFB-D413079B1D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5963" y="269875"/>
                <a:ext cx="315913" cy="523875"/>
              </a:xfrm>
              <a:custGeom>
                <a:avLst/>
                <a:gdLst>
                  <a:gd name="T0" fmla="*/ 203 w 444"/>
                  <a:gd name="T1" fmla="*/ 43 h 735"/>
                  <a:gd name="T2" fmla="*/ 240 w 444"/>
                  <a:gd name="T3" fmla="*/ 43 h 735"/>
                  <a:gd name="T4" fmla="*/ 257 w 444"/>
                  <a:gd name="T5" fmla="*/ 60 h 735"/>
                  <a:gd name="T6" fmla="*/ 240 w 444"/>
                  <a:gd name="T7" fmla="*/ 78 h 735"/>
                  <a:gd name="T8" fmla="*/ 203 w 444"/>
                  <a:gd name="T9" fmla="*/ 78 h 735"/>
                  <a:gd name="T10" fmla="*/ 185 w 444"/>
                  <a:gd name="T11" fmla="*/ 60 h 735"/>
                  <a:gd name="T12" fmla="*/ 203 w 444"/>
                  <a:gd name="T13" fmla="*/ 43 h 735"/>
                  <a:gd name="T14" fmla="*/ 49 w 444"/>
                  <a:gd name="T15" fmla="*/ 730 h 735"/>
                  <a:gd name="T16" fmla="*/ 126 w 444"/>
                  <a:gd name="T17" fmla="*/ 735 h 735"/>
                  <a:gd name="T18" fmla="*/ 126 w 444"/>
                  <a:gd name="T19" fmla="*/ 593 h 735"/>
                  <a:gd name="T20" fmla="*/ 43 w 444"/>
                  <a:gd name="T21" fmla="*/ 593 h 735"/>
                  <a:gd name="T22" fmla="*/ 43 w 444"/>
                  <a:gd name="T23" fmla="*/ 113 h 735"/>
                  <a:gd name="T24" fmla="*/ 400 w 444"/>
                  <a:gd name="T25" fmla="*/ 113 h 735"/>
                  <a:gd name="T26" fmla="*/ 400 w 444"/>
                  <a:gd name="T27" fmla="*/ 309 h 735"/>
                  <a:gd name="T28" fmla="*/ 444 w 444"/>
                  <a:gd name="T29" fmla="*/ 290 h 735"/>
                  <a:gd name="T30" fmla="*/ 444 w 444"/>
                  <a:gd name="T31" fmla="*/ 68 h 735"/>
                  <a:gd name="T32" fmla="*/ 396 w 444"/>
                  <a:gd name="T33" fmla="*/ 9 h 735"/>
                  <a:gd name="T34" fmla="*/ 222 w 444"/>
                  <a:gd name="T35" fmla="*/ 0 h 735"/>
                  <a:gd name="T36" fmla="*/ 48 w 444"/>
                  <a:gd name="T37" fmla="*/ 9 h 735"/>
                  <a:gd name="T38" fmla="*/ 0 w 444"/>
                  <a:gd name="T39" fmla="*/ 68 h 735"/>
                  <a:gd name="T40" fmla="*/ 0 w 444"/>
                  <a:gd name="T41" fmla="*/ 671 h 735"/>
                  <a:gd name="T42" fmla="*/ 49 w 444"/>
                  <a:gd name="T43" fmla="*/ 730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4" h="735">
                    <a:moveTo>
                      <a:pt x="203" y="43"/>
                    </a:moveTo>
                    <a:lnTo>
                      <a:pt x="240" y="43"/>
                    </a:lnTo>
                    <a:cubicBezTo>
                      <a:pt x="249" y="43"/>
                      <a:pt x="257" y="51"/>
                      <a:pt x="257" y="60"/>
                    </a:cubicBezTo>
                    <a:cubicBezTo>
                      <a:pt x="257" y="70"/>
                      <a:pt x="249" y="78"/>
                      <a:pt x="240" y="78"/>
                    </a:cubicBezTo>
                    <a:lnTo>
                      <a:pt x="203" y="78"/>
                    </a:lnTo>
                    <a:cubicBezTo>
                      <a:pt x="193" y="78"/>
                      <a:pt x="185" y="70"/>
                      <a:pt x="185" y="60"/>
                    </a:cubicBezTo>
                    <a:cubicBezTo>
                      <a:pt x="185" y="51"/>
                      <a:pt x="193" y="43"/>
                      <a:pt x="203" y="43"/>
                    </a:cubicBezTo>
                    <a:close/>
                    <a:moveTo>
                      <a:pt x="49" y="730"/>
                    </a:moveTo>
                    <a:cubicBezTo>
                      <a:pt x="75" y="732"/>
                      <a:pt x="101" y="734"/>
                      <a:pt x="126" y="735"/>
                    </a:cubicBezTo>
                    <a:lnTo>
                      <a:pt x="126" y="593"/>
                    </a:lnTo>
                    <a:lnTo>
                      <a:pt x="43" y="593"/>
                    </a:lnTo>
                    <a:lnTo>
                      <a:pt x="43" y="113"/>
                    </a:lnTo>
                    <a:lnTo>
                      <a:pt x="400" y="113"/>
                    </a:lnTo>
                    <a:lnTo>
                      <a:pt x="400" y="309"/>
                    </a:lnTo>
                    <a:lnTo>
                      <a:pt x="444" y="290"/>
                    </a:lnTo>
                    <a:lnTo>
                      <a:pt x="444" y="68"/>
                    </a:lnTo>
                    <a:cubicBezTo>
                      <a:pt x="444" y="38"/>
                      <a:pt x="423" y="12"/>
                      <a:pt x="396" y="9"/>
                    </a:cubicBezTo>
                    <a:cubicBezTo>
                      <a:pt x="333" y="3"/>
                      <a:pt x="278" y="0"/>
                      <a:pt x="222" y="0"/>
                    </a:cubicBezTo>
                    <a:cubicBezTo>
                      <a:pt x="167" y="0"/>
                      <a:pt x="111" y="3"/>
                      <a:pt x="48" y="9"/>
                    </a:cubicBezTo>
                    <a:cubicBezTo>
                      <a:pt x="21" y="12"/>
                      <a:pt x="0" y="38"/>
                      <a:pt x="0" y="68"/>
                    </a:cubicBezTo>
                    <a:lnTo>
                      <a:pt x="0" y="671"/>
                    </a:lnTo>
                    <a:cubicBezTo>
                      <a:pt x="0" y="700"/>
                      <a:pt x="21" y="726"/>
                      <a:pt x="49" y="73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17" name="Freeform 73">
                <a:extLst>
                  <a:ext uri="{FF2B5EF4-FFF2-40B4-BE49-F238E27FC236}">
                    <a16:creationId xmlns:a16="http://schemas.microsoft.com/office/drawing/2014/main" id="{01B37FD5-BCE4-4926-BD75-A4C241E26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9013" y="584200"/>
                <a:ext cx="112713" cy="85725"/>
              </a:xfrm>
              <a:custGeom>
                <a:avLst/>
                <a:gdLst>
                  <a:gd name="T0" fmla="*/ 149 w 159"/>
                  <a:gd name="T1" fmla="*/ 30 h 120"/>
                  <a:gd name="T2" fmla="*/ 104 w 159"/>
                  <a:gd name="T3" fmla="*/ 0 h 120"/>
                  <a:gd name="T4" fmla="*/ 87 w 159"/>
                  <a:gd name="T5" fmla="*/ 4 h 120"/>
                  <a:gd name="T6" fmla="*/ 36 w 159"/>
                  <a:gd name="T7" fmla="*/ 26 h 120"/>
                  <a:gd name="T8" fmla="*/ 10 w 159"/>
                  <a:gd name="T9" fmla="*/ 90 h 120"/>
                  <a:gd name="T10" fmla="*/ 54 w 159"/>
                  <a:gd name="T11" fmla="*/ 120 h 120"/>
                  <a:gd name="T12" fmla="*/ 72 w 159"/>
                  <a:gd name="T13" fmla="*/ 117 h 120"/>
                  <a:gd name="T14" fmla="*/ 123 w 159"/>
                  <a:gd name="T15" fmla="*/ 94 h 120"/>
                  <a:gd name="T16" fmla="*/ 149 w 159"/>
                  <a:gd name="T17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9" h="120">
                    <a:moveTo>
                      <a:pt x="149" y="30"/>
                    </a:moveTo>
                    <a:cubicBezTo>
                      <a:pt x="140" y="10"/>
                      <a:pt x="122" y="0"/>
                      <a:pt x="104" y="0"/>
                    </a:cubicBezTo>
                    <a:cubicBezTo>
                      <a:pt x="98" y="0"/>
                      <a:pt x="92" y="2"/>
                      <a:pt x="87" y="4"/>
                    </a:cubicBezTo>
                    <a:lnTo>
                      <a:pt x="36" y="26"/>
                    </a:lnTo>
                    <a:cubicBezTo>
                      <a:pt x="12" y="37"/>
                      <a:pt x="0" y="65"/>
                      <a:pt x="10" y="90"/>
                    </a:cubicBezTo>
                    <a:cubicBezTo>
                      <a:pt x="19" y="111"/>
                      <a:pt x="37" y="120"/>
                      <a:pt x="54" y="120"/>
                    </a:cubicBezTo>
                    <a:cubicBezTo>
                      <a:pt x="61" y="120"/>
                      <a:pt x="67" y="119"/>
                      <a:pt x="72" y="117"/>
                    </a:cubicBezTo>
                    <a:lnTo>
                      <a:pt x="123" y="94"/>
                    </a:lnTo>
                    <a:cubicBezTo>
                      <a:pt x="147" y="84"/>
                      <a:pt x="159" y="55"/>
                      <a:pt x="149" y="3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18" name="Freeform 74">
                <a:extLst>
                  <a:ext uri="{FF2B5EF4-FFF2-40B4-BE49-F238E27FC236}">
                    <a16:creationId xmlns:a16="http://schemas.microsoft.com/office/drawing/2014/main" id="{346C3EED-8B5A-4973-B383-6105C577D2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9013" y="501650"/>
                <a:ext cx="101600" cy="80963"/>
              </a:xfrm>
              <a:custGeom>
                <a:avLst/>
                <a:gdLst>
                  <a:gd name="T0" fmla="*/ 11 w 143"/>
                  <a:gd name="T1" fmla="*/ 83 h 113"/>
                  <a:gd name="T2" fmla="*/ 55 w 143"/>
                  <a:gd name="T3" fmla="*/ 113 h 113"/>
                  <a:gd name="T4" fmla="*/ 72 w 143"/>
                  <a:gd name="T5" fmla="*/ 110 h 113"/>
                  <a:gd name="T6" fmla="*/ 107 w 143"/>
                  <a:gd name="T7" fmla="*/ 94 h 113"/>
                  <a:gd name="T8" fmla="*/ 132 w 143"/>
                  <a:gd name="T9" fmla="*/ 30 h 113"/>
                  <a:gd name="T10" fmla="*/ 88 w 143"/>
                  <a:gd name="T11" fmla="*/ 0 h 113"/>
                  <a:gd name="T12" fmla="*/ 70 w 143"/>
                  <a:gd name="T13" fmla="*/ 4 h 113"/>
                  <a:gd name="T14" fmla="*/ 36 w 143"/>
                  <a:gd name="T15" fmla="*/ 19 h 113"/>
                  <a:gd name="T16" fmla="*/ 11 w 143"/>
                  <a:gd name="T17" fmla="*/ 8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3" h="113">
                    <a:moveTo>
                      <a:pt x="11" y="83"/>
                    </a:moveTo>
                    <a:cubicBezTo>
                      <a:pt x="19" y="104"/>
                      <a:pt x="37" y="113"/>
                      <a:pt x="55" y="113"/>
                    </a:cubicBezTo>
                    <a:cubicBezTo>
                      <a:pt x="61" y="113"/>
                      <a:pt x="67" y="112"/>
                      <a:pt x="72" y="110"/>
                    </a:cubicBezTo>
                    <a:lnTo>
                      <a:pt x="107" y="94"/>
                    </a:lnTo>
                    <a:cubicBezTo>
                      <a:pt x="131" y="83"/>
                      <a:pt x="143" y="55"/>
                      <a:pt x="132" y="30"/>
                    </a:cubicBezTo>
                    <a:cubicBezTo>
                      <a:pt x="124" y="10"/>
                      <a:pt x="106" y="0"/>
                      <a:pt x="88" y="0"/>
                    </a:cubicBezTo>
                    <a:cubicBezTo>
                      <a:pt x="82" y="0"/>
                      <a:pt x="76" y="1"/>
                      <a:pt x="70" y="4"/>
                    </a:cubicBezTo>
                    <a:lnTo>
                      <a:pt x="36" y="19"/>
                    </a:lnTo>
                    <a:cubicBezTo>
                      <a:pt x="12" y="30"/>
                      <a:pt x="0" y="58"/>
                      <a:pt x="11" y="8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19" name="Freeform 75">
                <a:extLst>
                  <a:ext uri="{FF2B5EF4-FFF2-40B4-BE49-F238E27FC236}">
                    <a16:creationId xmlns:a16="http://schemas.microsoft.com/office/drawing/2014/main" id="{595A1A2B-A58B-4667-B250-4F976BA04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363" y="673100"/>
                <a:ext cx="101600" cy="76200"/>
              </a:xfrm>
              <a:custGeom>
                <a:avLst/>
                <a:gdLst>
                  <a:gd name="T0" fmla="*/ 94 w 143"/>
                  <a:gd name="T1" fmla="*/ 0 h 108"/>
                  <a:gd name="T2" fmla="*/ 78 w 143"/>
                  <a:gd name="T3" fmla="*/ 3 h 108"/>
                  <a:gd name="T4" fmla="*/ 32 w 143"/>
                  <a:gd name="T5" fmla="*/ 23 h 108"/>
                  <a:gd name="T6" fmla="*/ 9 w 143"/>
                  <a:gd name="T7" fmla="*/ 81 h 108"/>
                  <a:gd name="T8" fmla="*/ 49 w 143"/>
                  <a:gd name="T9" fmla="*/ 108 h 108"/>
                  <a:gd name="T10" fmla="*/ 65 w 143"/>
                  <a:gd name="T11" fmla="*/ 105 h 108"/>
                  <a:gd name="T12" fmla="*/ 111 w 143"/>
                  <a:gd name="T13" fmla="*/ 85 h 108"/>
                  <a:gd name="T14" fmla="*/ 134 w 143"/>
                  <a:gd name="T15" fmla="*/ 27 h 108"/>
                  <a:gd name="T16" fmla="*/ 94 w 143"/>
                  <a:gd name="T17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3" h="108">
                    <a:moveTo>
                      <a:pt x="94" y="0"/>
                    </a:moveTo>
                    <a:cubicBezTo>
                      <a:pt x="89" y="0"/>
                      <a:pt x="83" y="1"/>
                      <a:pt x="78" y="3"/>
                    </a:cubicBezTo>
                    <a:lnTo>
                      <a:pt x="32" y="23"/>
                    </a:lnTo>
                    <a:cubicBezTo>
                      <a:pt x="10" y="33"/>
                      <a:pt x="0" y="59"/>
                      <a:pt x="9" y="81"/>
                    </a:cubicBezTo>
                    <a:cubicBezTo>
                      <a:pt x="16" y="99"/>
                      <a:pt x="33" y="108"/>
                      <a:pt x="49" y="108"/>
                    </a:cubicBezTo>
                    <a:cubicBezTo>
                      <a:pt x="54" y="108"/>
                      <a:pt x="60" y="107"/>
                      <a:pt x="65" y="105"/>
                    </a:cubicBezTo>
                    <a:lnTo>
                      <a:pt x="111" y="85"/>
                    </a:lnTo>
                    <a:cubicBezTo>
                      <a:pt x="133" y="75"/>
                      <a:pt x="143" y="49"/>
                      <a:pt x="134" y="27"/>
                    </a:cubicBezTo>
                    <a:cubicBezTo>
                      <a:pt x="127" y="9"/>
                      <a:pt x="110" y="0"/>
                      <a:pt x="9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0" name="Rectangle 76">
                <a:extLst>
                  <a:ext uri="{FF2B5EF4-FFF2-40B4-BE49-F238E27FC236}">
                    <a16:creationId xmlns:a16="http://schemas.microsoft.com/office/drawing/2014/main" id="{AC97440E-E610-425F-8DF2-BE4F33B31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2163" y="485775"/>
                <a:ext cx="44450" cy="206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1" name="Rectangle 77">
                <a:extLst>
                  <a:ext uri="{FF2B5EF4-FFF2-40B4-BE49-F238E27FC236}">
                    <a16:creationId xmlns:a16="http://schemas.microsoft.com/office/drawing/2014/main" id="{D590B548-691B-412C-80C2-7EC5613DE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72013" y="485775"/>
                <a:ext cx="93663" cy="206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2" name="Rectangle 78">
                <a:extLst>
                  <a:ext uri="{FF2B5EF4-FFF2-40B4-BE49-F238E27FC236}">
                    <a16:creationId xmlns:a16="http://schemas.microsoft.com/office/drawing/2014/main" id="{5E83D74E-AB83-4245-B2D6-28996485A6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2163" y="436563"/>
                <a:ext cx="44450" cy="206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3" name="Rectangle 79">
                <a:extLst>
                  <a:ext uri="{FF2B5EF4-FFF2-40B4-BE49-F238E27FC236}">
                    <a16:creationId xmlns:a16="http://schemas.microsoft.com/office/drawing/2014/main" id="{0931C31D-315F-4FDD-B4D2-95D90DEEF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72013" y="436563"/>
                <a:ext cx="93663" cy="206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4" name="Rectangle 80">
                <a:extLst>
                  <a:ext uri="{FF2B5EF4-FFF2-40B4-BE49-F238E27FC236}">
                    <a16:creationId xmlns:a16="http://schemas.microsoft.com/office/drawing/2014/main" id="{59955BB3-E2AC-41CA-8750-49CC3E04D7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2163" y="385763"/>
                <a:ext cx="44450" cy="206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5" name="Rectangle 81">
                <a:extLst>
                  <a:ext uri="{FF2B5EF4-FFF2-40B4-BE49-F238E27FC236}">
                    <a16:creationId xmlns:a16="http://schemas.microsoft.com/office/drawing/2014/main" id="{D0BB740F-B662-4868-A0E0-3F5FEDCCE5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72013" y="385763"/>
                <a:ext cx="93663" cy="2063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6" name="Freeform 82">
                <a:extLst>
                  <a:ext uri="{FF2B5EF4-FFF2-40B4-BE49-F238E27FC236}">
                    <a16:creationId xmlns:a16="http://schemas.microsoft.com/office/drawing/2014/main" id="{FC1350EE-875F-40D9-B02E-5A59C9EF6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0088" y="606425"/>
                <a:ext cx="452438" cy="538163"/>
              </a:xfrm>
              <a:custGeom>
                <a:avLst/>
                <a:gdLst>
                  <a:gd name="T0" fmla="*/ 139 w 635"/>
                  <a:gd name="T1" fmla="*/ 542 h 756"/>
                  <a:gd name="T2" fmla="*/ 405 w 635"/>
                  <a:gd name="T3" fmla="*/ 756 h 756"/>
                  <a:gd name="T4" fmla="*/ 635 w 635"/>
                  <a:gd name="T5" fmla="*/ 563 h 756"/>
                  <a:gd name="T6" fmla="*/ 635 w 635"/>
                  <a:gd name="T7" fmla="*/ 368 h 756"/>
                  <a:gd name="T8" fmla="*/ 579 w 635"/>
                  <a:gd name="T9" fmla="*/ 313 h 756"/>
                  <a:gd name="T10" fmla="*/ 529 w 635"/>
                  <a:gd name="T11" fmla="*/ 345 h 756"/>
                  <a:gd name="T12" fmla="*/ 529 w 635"/>
                  <a:gd name="T13" fmla="*/ 312 h 756"/>
                  <a:gd name="T14" fmla="*/ 471 w 635"/>
                  <a:gd name="T15" fmla="*/ 255 h 756"/>
                  <a:gd name="T16" fmla="*/ 416 w 635"/>
                  <a:gd name="T17" fmla="*/ 296 h 756"/>
                  <a:gd name="T18" fmla="*/ 359 w 635"/>
                  <a:gd name="T19" fmla="*/ 227 h 756"/>
                  <a:gd name="T20" fmla="*/ 303 w 635"/>
                  <a:gd name="T21" fmla="*/ 275 h 756"/>
                  <a:gd name="T22" fmla="*/ 303 w 635"/>
                  <a:gd name="T23" fmla="*/ 57 h 756"/>
                  <a:gd name="T24" fmla="*/ 246 w 635"/>
                  <a:gd name="T25" fmla="*/ 0 h 756"/>
                  <a:gd name="T26" fmla="*/ 188 w 635"/>
                  <a:gd name="T27" fmla="*/ 57 h 756"/>
                  <a:gd name="T28" fmla="*/ 188 w 635"/>
                  <a:gd name="T29" fmla="*/ 404 h 756"/>
                  <a:gd name="T30" fmla="*/ 76 w 635"/>
                  <a:gd name="T31" fmla="*/ 309 h 756"/>
                  <a:gd name="T32" fmla="*/ 10 w 635"/>
                  <a:gd name="T33" fmla="*/ 342 h 756"/>
                  <a:gd name="T34" fmla="*/ 139 w 635"/>
                  <a:gd name="T35" fmla="*/ 542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35" h="756">
                    <a:moveTo>
                      <a:pt x="139" y="542"/>
                    </a:moveTo>
                    <a:cubicBezTo>
                      <a:pt x="202" y="696"/>
                      <a:pt x="252" y="756"/>
                      <a:pt x="405" y="756"/>
                    </a:cubicBezTo>
                    <a:cubicBezTo>
                      <a:pt x="572" y="756"/>
                      <a:pt x="635" y="639"/>
                      <a:pt x="635" y="563"/>
                    </a:cubicBezTo>
                    <a:lnTo>
                      <a:pt x="635" y="368"/>
                    </a:lnTo>
                    <a:cubicBezTo>
                      <a:pt x="635" y="338"/>
                      <a:pt x="610" y="313"/>
                      <a:pt x="579" y="313"/>
                    </a:cubicBezTo>
                    <a:cubicBezTo>
                      <a:pt x="557" y="313"/>
                      <a:pt x="537" y="326"/>
                      <a:pt x="529" y="345"/>
                    </a:cubicBezTo>
                    <a:lnTo>
                      <a:pt x="529" y="312"/>
                    </a:lnTo>
                    <a:cubicBezTo>
                      <a:pt x="529" y="280"/>
                      <a:pt x="503" y="255"/>
                      <a:pt x="471" y="255"/>
                    </a:cubicBezTo>
                    <a:cubicBezTo>
                      <a:pt x="445" y="255"/>
                      <a:pt x="423" y="272"/>
                      <a:pt x="416" y="296"/>
                    </a:cubicBezTo>
                    <a:cubicBezTo>
                      <a:pt x="416" y="254"/>
                      <a:pt x="397" y="227"/>
                      <a:pt x="359" y="227"/>
                    </a:cubicBezTo>
                    <a:cubicBezTo>
                      <a:pt x="331" y="227"/>
                      <a:pt x="307" y="247"/>
                      <a:pt x="303" y="275"/>
                    </a:cubicBezTo>
                    <a:lnTo>
                      <a:pt x="303" y="57"/>
                    </a:lnTo>
                    <a:cubicBezTo>
                      <a:pt x="303" y="25"/>
                      <a:pt x="277" y="0"/>
                      <a:pt x="246" y="0"/>
                    </a:cubicBezTo>
                    <a:cubicBezTo>
                      <a:pt x="214" y="0"/>
                      <a:pt x="188" y="25"/>
                      <a:pt x="188" y="57"/>
                    </a:cubicBezTo>
                    <a:lnTo>
                      <a:pt x="188" y="404"/>
                    </a:lnTo>
                    <a:cubicBezTo>
                      <a:pt x="150" y="331"/>
                      <a:pt x="109" y="308"/>
                      <a:pt x="76" y="309"/>
                    </a:cubicBezTo>
                    <a:cubicBezTo>
                      <a:pt x="42" y="309"/>
                      <a:pt x="16" y="330"/>
                      <a:pt x="10" y="342"/>
                    </a:cubicBezTo>
                    <a:cubicBezTo>
                      <a:pt x="0" y="364"/>
                      <a:pt x="82" y="400"/>
                      <a:pt x="139" y="5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27" name="Freeform 83">
                <a:extLst>
                  <a:ext uri="{FF2B5EF4-FFF2-40B4-BE49-F238E27FC236}">
                    <a16:creationId xmlns:a16="http://schemas.microsoft.com/office/drawing/2014/main" id="{DDEC440A-F9BE-4750-84F8-5B0AFFC40F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533400"/>
                <a:ext cx="204788" cy="47625"/>
              </a:xfrm>
              <a:custGeom>
                <a:avLst/>
                <a:gdLst>
                  <a:gd name="T0" fmla="*/ 258 w 287"/>
                  <a:gd name="T1" fmla="*/ 47 h 68"/>
                  <a:gd name="T2" fmla="*/ 127 w 287"/>
                  <a:gd name="T3" fmla="*/ 47 h 68"/>
                  <a:gd name="T4" fmla="*/ 127 w 287"/>
                  <a:gd name="T5" fmla="*/ 21 h 68"/>
                  <a:gd name="T6" fmla="*/ 258 w 287"/>
                  <a:gd name="T7" fmla="*/ 21 h 68"/>
                  <a:gd name="T8" fmla="*/ 258 w 287"/>
                  <a:gd name="T9" fmla="*/ 47 h 68"/>
                  <a:gd name="T10" fmla="*/ 90 w 287"/>
                  <a:gd name="T11" fmla="*/ 47 h 68"/>
                  <a:gd name="T12" fmla="*/ 29 w 287"/>
                  <a:gd name="T13" fmla="*/ 47 h 68"/>
                  <a:gd name="T14" fmla="*/ 29 w 287"/>
                  <a:gd name="T15" fmla="*/ 21 h 68"/>
                  <a:gd name="T16" fmla="*/ 90 w 287"/>
                  <a:gd name="T17" fmla="*/ 21 h 68"/>
                  <a:gd name="T18" fmla="*/ 90 w 287"/>
                  <a:gd name="T19" fmla="*/ 47 h 68"/>
                  <a:gd name="T20" fmla="*/ 287 w 287"/>
                  <a:gd name="T21" fmla="*/ 0 h 68"/>
                  <a:gd name="T22" fmla="*/ 0 w 287"/>
                  <a:gd name="T23" fmla="*/ 0 h 68"/>
                  <a:gd name="T24" fmla="*/ 0 w 287"/>
                  <a:gd name="T25" fmla="*/ 68 h 68"/>
                  <a:gd name="T26" fmla="*/ 287 w 287"/>
                  <a:gd name="T27" fmla="*/ 68 h 68"/>
                  <a:gd name="T28" fmla="*/ 287 w 287"/>
                  <a:gd name="T2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7" h="68">
                    <a:moveTo>
                      <a:pt x="258" y="47"/>
                    </a:moveTo>
                    <a:lnTo>
                      <a:pt x="127" y="47"/>
                    </a:lnTo>
                    <a:lnTo>
                      <a:pt x="127" y="21"/>
                    </a:lnTo>
                    <a:lnTo>
                      <a:pt x="258" y="21"/>
                    </a:lnTo>
                    <a:lnTo>
                      <a:pt x="258" y="47"/>
                    </a:lnTo>
                    <a:close/>
                    <a:moveTo>
                      <a:pt x="90" y="47"/>
                    </a:moveTo>
                    <a:lnTo>
                      <a:pt x="29" y="47"/>
                    </a:lnTo>
                    <a:lnTo>
                      <a:pt x="29" y="21"/>
                    </a:lnTo>
                    <a:lnTo>
                      <a:pt x="90" y="21"/>
                    </a:lnTo>
                    <a:lnTo>
                      <a:pt x="90" y="47"/>
                    </a:lnTo>
                    <a:close/>
                    <a:moveTo>
                      <a:pt x="287" y="0"/>
                    </a:moveTo>
                    <a:lnTo>
                      <a:pt x="0" y="0"/>
                    </a:lnTo>
                    <a:lnTo>
                      <a:pt x="0" y="68"/>
                    </a:lnTo>
                    <a:lnTo>
                      <a:pt x="287" y="68"/>
                    </a:lnTo>
                    <a:lnTo>
                      <a:pt x="28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28" name="Tablet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901C7BC-E540-48E6-B9E7-CABFCD49054A}"/>
                </a:ext>
              </a:extLst>
            </p:cNvPr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7400524" y="2519070"/>
              <a:ext cx="335720" cy="448698"/>
            </a:xfrm>
            <a:custGeom>
              <a:avLst/>
              <a:gdLst>
                <a:gd name="T0" fmla="*/ 217 w 500"/>
                <a:gd name="T1" fmla="*/ 600 h 667"/>
                <a:gd name="T2" fmla="*/ 250 w 500"/>
                <a:gd name="T3" fmla="*/ 567 h 667"/>
                <a:gd name="T4" fmla="*/ 284 w 500"/>
                <a:gd name="T5" fmla="*/ 600 h 667"/>
                <a:gd name="T6" fmla="*/ 250 w 500"/>
                <a:gd name="T7" fmla="*/ 634 h 667"/>
                <a:gd name="T8" fmla="*/ 217 w 500"/>
                <a:gd name="T9" fmla="*/ 600 h 667"/>
                <a:gd name="T10" fmla="*/ 67 w 500"/>
                <a:gd name="T11" fmla="*/ 50 h 667"/>
                <a:gd name="T12" fmla="*/ 434 w 500"/>
                <a:gd name="T13" fmla="*/ 50 h 667"/>
                <a:gd name="T14" fmla="*/ 450 w 500"/>
                <a:gd name="T15" fmla="*/ 67 h 667"/>
                <a:gd name="T16" fmla="*/ 450 w 500"/>
                <a:gd name="T17" fmla="*/ 534 h 667"/>
                <a:gd name="T18" fmla="*/ 50 w 500"/>
                <a:gd name="T19" fmla="*/ 534 h 667"/>
                <a:gd name="T20" fmla="*/ 50 w 500"/>
                <a:gd name="T21" fmla="*/ 67 h 667"/>
                <a:gd name="T22" fmla="*/ 67 w 500"/>
                <a:gd name="T23" fmla="*/ 50 h 667"/>
                <a:gd name="T24" fmla="*/ 434 w 500"/>
                <a:gd name="T25" fmla="*/ 0 h 667"/>
                <a:gd name="T26" fmla="*/ 67 w 500"/>
                <a:gd name="T27" fmla="*/ 0 h 667"/>
                <a:gd name="T28" fmla="*/ 0 w 500"/>
                <a:gd name="T29" fmla="*/ 67 h 667"/>
                <a:gd name="T30" fmla="*/ 0 w 500"/>
                <a:gd name="T31" fmla="*/ 600 h 667"/>
                <a:gd name="T32" fmla="*/ 67 w 500"/>
                <a:gd name="T33" fmla="*/ 667 h 667"/>
                <a:gd name="T34" fmla="*/ 434 w 500"/>
                <a:gd name="T35" fmla="*/ 667 h 667"/>
                <a:gd name="T36" fmla="*/ 500 w 500"/>
                <a:gd name="T37" fmla="*/ 600 h 667"/>
                <a:gd name="T38" fmla="*/ 500 w 500"/>
                <a:gd name="T39" fmla="*/ 67 h 667"/>
                <a:gd name="T40" fmla="*/ 434 w 500"/>
                <a:gd name="T41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0" h="667">
                  <a:moveTo>
                    <a:pt x="217" y="600"/>
                  </a:moveTo>
                  <a:cubicBezTo>
                    <a:pt x="217" y="582"/>
                    <a:pt x="232" y="567"/>
                    <a:pt x="250" y="567"/>
                  </a:cubicBezTo>
                  <a:cubicBezTo>
                    <a:pt x="269" y="567"/>
                    <a:pt x="284" y="582"/>
                    <a:pt x="284" y="600"/>
                  </a:cubicBezTo>
                  <a:cubicBezTo>
                    <a:pt x="284" y="619"/>
                    <a:pt x="269" y="634"/>
                    <a:pt x="250" y="634"/>
                  </a:cubicBezTo>
                  <a:cubicBezTo>
                    <a:pt x="232" y="634"/>
                    <a:pt x="217" y="619"/>
                    <a:pt x="217" y="600"/>
                  </a:cubicBezTo>
                  <a:close/>
                  <a:moveTo>
                    <a:pt x="67" y="50"/>
                  </a:moveTo>
                  <a:lnTo>
                    <a:pt x="434" y="50"/>
                  </a:lnTo>
                  <a:cubicBezTo>
                    <a:pt x="443" y="50"/>
                    <a:pt x="450" y="58"/>
                    <a:pt x="450" y="67"/>
                  </a:cubicBezTo>
                  <a:lnTo>
                    <a:pt x="450" y="534"/>
                  </a:lnTo>
                  <a:lnTo>
                    <a:pt x="50" y="534"/>
                  </a:lnTo>
                  <a:lnTo>
                    <a:pt x="50" y="67"/>
                  </a:lnTo>
                  <a:cubicBezTo>
                    <a:pt x="50" y="58"/>
                    <a:pt x="58" y="50"/>
                    <a:pt x="67" y="50"/>
                  </a:cubicBezTo>
                  <a:close/>
                  <a:moveTo>
                    <a:pt x="434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7"/>
                  </a:cubicBezTo>
                  <a:lnTo>
                    <a:pt x="0" y="600"/>
                  </a:lnTo>
                  <a:cubicBezTo>
                    <a:pt x="0" y="637"/>
                    <a:pt x="30" y="667"/>
                    <a:pt x="67" y="667"/>
                  </a:cubicBezTo>
                  <a:lnTo>
                    <a:pt x="434" y="667"/>
                  </a:lnTo>
                  <a:cubicBezTo>
                    <a:pt x="470" y="667"/>
                    <a:pt x="500" y="637"/>
                    <a:pt x="500" y="600"/>
                  </a:cubicBezTo>
                  <a:lnTo>
                    <a:pt x="500" y="67"/>
                  </a:lnTo>
                  <a:cubicBezTo>
                    <a:pt x="500" y="30"/>
                    <a:pt x="470" y="0"/>
                    <a:pt x="434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729" name="Trends5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DE9FDB9D-7A52-4CFB-A51F-2F5017BB336F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5003260" y="2128227"/>
              <a:ext cx="462595" cy="337114"/>
              <a:chOff x="1898" y="749"/>
              <a:chExt cx="247" cy="180"/>
            </a:xfrm>
          </p:grpSpPr>
          <p:sp>
            <p:nvSpPr>
              <p:cNvPr id="730" name="Freeform 59">
                <a:extLst>
                  <a:ext uri="{FF2B5EF4-FFF2-40B4-BE49-F238E27FC236}">
                    <a16:creationId xmlns:a16="http://schemas.microsoft.com/office/drawing/2014/main" id="{A8B5F032-C5BC-4C21-BE30-F115A2DA7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749"/>
                <a:ext cx="247" cy="180"/>
              </a:xfrm>
              <a:custGeom>
                <a:avLst/>
                <a:gdLst>
                  <a:gd name="T0" fmla="*/ 403 w 513"/>
                  <a:gd name="T1" fmla="*/ 245 h 373"/>
                  <a:gd name="T2" fmla="*/ 325 w 513"/>
                  <a:gd name="T3" fmla="*/ 373 h 373"/>
                  <a:gd name="T4" fmla="*/ 247 w 513"/>
                  <a:gd name="T5" fmla="*/ 245 h 373"/>
                  <a:gd name="T6" fmla="*/ 185 w 513"/>
                  <a:gd name="T7" fmla="*/ 182 h 373"/>
                  <a:gd name="T8" fmla="*/ 114 w 513"/>
                  <a:gd name="T9" fmla="*/ 171 h 373"/>
                  <a:gd name="T10" fmla="*/ 38 w 513"/>
                  <a:gd name="T11" fmla="*/ 248 h 373"/>
                  <a:gd name="T12" fmla="*/ 0 w 513"/>
                  <a:gd name="T13" fmla="*/ 210 h 373"/>
                  <a:gd name="T14" fmla="*/ 81 w 513"/>
                  <a:gd name="T15" fmla="*/ 129 h 373"/>
                  <a:gd name="T16" fmla="*/ 176 w 513"/>
                  <a:gd name="T17" fmla="*/ 11 h 373"/>
                  <a:gd name="T18" fmla="*/ 230 w 513"/>
                  <a:gd name="T19" fmla="*/ 153 h 373"/>
                  <a:gd name="T20" fmla="*/ 285 w 513"/>
                  <a:gd name="T21" fmla="*/ 207 h 373"/>
                  <a:gd name="T22" fmla="*/ 365 w 513"/>
                  <a:gd name="T23" fmla="*/ 207 h 373"/>
                  <a:gd name="T24" fmla="*/ 475 w 513"/>
                  <a:gd name="T25" fmla="*/ 98 h 373"/>
                  <a:gd name="T26" fmla="*/ 513 w 513"/>
                  <a:gd name="T27" fmla="*/ 135 h 373"/>
                  <a:gd name="T28" fmla="*/ 403 w 513"/>
                  <a:gd name="T29" fmla="*/ 245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3" h="373">
                    <a:moveTo>
                      <a:pt x="403" y="245"/>
                    </a:moveTo>
                    <a:cubicBezTo>
                      <a:pt x="433" y="303"/>
                      <a:pt x="391" y="373"/>
                      <a:pt x="325" y="373"/>
                    </a:cubicBezTo>
                    <a:cubicBezTo>
                      <a:pt x="259" y="373"/>
                      <a:pt x="217" y="303"/>
                      <a:pt x="247" y="245"/>
                    </a:cubicBezTo>
                    <a:lnTo>
                      <a:pt x="185" y="182"/>
                    </a:lnTo>
                    <a:cubicBezTo>
                      <a:pt x="161" y="188"/>
                      <a:pt x="135" y="184"/>
                      <a:pt x="114" y="171"/>
                    </a:cubicBezTo>
                    <a:lnTo>
                      <a:pt x="38" y="248"/>
                    </a:lnTo>
                    <a:lnTo>
                      <a:pt x="0" y="210"/>
                    </a:lnTo>
                    <a:lnTo>
                      <a:pt x="81" y="129"/>
                    </a:lnTo>
                    <a:cubicBezTo>
                      <a:pt x="57" y="66"/>
                      <a:pt x="110" y="0"/>
                      <a:pt x="176" y="11"/>
                    </a:cubicBezTo>
                    <a:cubicBezTo>
                      <a:pt x="243" y="22"/>
                      <a:pt x="273" y="101"/>
                      <a:pt x="230" y="153"/>
                    </a:cubicBezTo>
                    <a:lnTo>
                      <a:pt x="285" y="207"/>
                    </a:lnTo>
                    <a:cubicBezTo>
                      <a:pt x="310" y="194"/>
                      <a:pt x="340" y="194"/>
                      <a:pt x="365" y="207"/>
                    </a:cubicBezTo>
                    <a:lnTo>
                      <a:pt x="475" y="98"/>
                    </a:lnTo>
                    <a:lnTo>
                      <a:pt x="513" y="135"/>
                    </a:lnTo>
                    <a:lnTo>
                      <a:pt x="403" y="245"/>
                    </a:lnTo>
                    <a:close/>
                  </a:path>
                </a:pathLst>
              </a:custGeom>
              <a:solidFill>
                <a:srgbClr val="FFC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31" name="Freeform 60">
                <a:extLst>
                  <a:ext uri="{FF2B5EF4-FFF2-40B4-BE49-F238E27FC236}">
                    <a16:creationId xmlns:a16="http://schemas.microsoft.com/office/drawing/2014/main" id="{C200E5F8-7DA1-4E50-89AE-726C014CD7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8" y="778"/>
                <a:ext cx="120" cy="132"/>
              </a:xfrm>
              <a:custGeom>
                <a:avLst/>
                <a:gdLst>
                  <a:gd name="T0" fmla="*/ 38 w 250"/>
                  <a:gd name="T1" fmla="*/ 0 h 275"/>
                  <a:gd name="T2" fmla="*/ 64 w 250"/>
                  <a:gd name="T3" fmla="*/ 64 h 275"/>
                  <a:gd name="T4" fmla="*/ 0 w 250"/>
                  <a:gd name="T5" fmla="*/ 38 h 275"/>
                  <a:gd name="T6" fmla="*/ 38 w 250"/>
                  <a:gd name="T7" fmla="*/ 0 h 275"/>
                  <a:gd name="T8" fmla="*/ 200 w 250"/>
                  <a:gd name="T9" fmla="*/ 188 h 275"/>
                  <a:gd name="T10" fmla="*/ 227 w 250"/>
                  <a:gd name="T11" fmla="*/ 252 h 275"/>
                  <a:gd name="T12" fmla="*/ 163 w 250"/>
                  <a:gd name="T13" fmla="*/ 225 h 275"/>
                  <a:gd name="T14" fmla="*/ 200 w 250"/>
                  <a:gd name="T15" fmla="*/ 188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75">
                    <a:moveTo>
                      <a:pt x="38" y="0"/>
                    </a:moveTo>
                    <a:cubicBezTo>
                      <a:pt x="71" y="0"/>
                      <a:pt x="88" y="40"/>
                      <a:pt x="64" y="64"/>
                    </a:cubicBezTo>
                    <a:cubicBezTo>
                      <a:pt x="40" y="88"/>
                      <a:pt x="0" y="71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lose/>
                    <a:moveTo>
                      <a:pt x="200" y="188"/>
                    </a:moveTo>
                    <a:cubicBezTo>
                      <a:pt x="233" y="188"/>
                      <a:pt x="250" y="228"/>
                      <a:pt x="227" y="252"/>
                    </a:cubicBezTo>
                    <a:cubicBezTo>
                      <a:pt x="203" y="275"/>
                      <a:pt x="163" y="258"/>
                      <a:pt x="163" y="225"/>
                    </a:cubicBezTo>
                    <a:cubicBezTo>
                      <a:pt x="163" y="204"/>
                      <a:pt x="179" y="188"/>
                      <a:pt x="200" y="188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732" name="Wearable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517E6FE0-901F-4435-867E-748B83D584F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6857111" y="3387669"/>
              <a:ext cx="385165" cy="370825"/>
              <a:chOff x="5737226" y="1835151"/>
              <a:chExt cx="298450" cy="287338"/>
            </a:xfrm>
            <a:solidFill>
              <a:srgbClr val="70AD47"/>
            </a:solidFill>
          </p:grpSpPr>
          <p:sp>
            <p:nvSpPr>
              <p:cNvPr id="733" name="Freeform 1073">
                <a:extLst>
                  <a:ext uri="{FF2B5EF4-FFF2-40B4-BE49-F238E27FC236}">
                    <a16:creationId xmlns:a16="http://schemas.microsoft.com/office/drawing/2014/main" id="{99AA316E-4372-40D5-84F2-C0010EE7BD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37226" y="1835151"/>
                <a:ext cx="298450" cy="287338"/>
              </a:xfrm>
              <a:custGeom>
                <a:avLst/>
                <a:gdLst>
                  <a:gd name="T0" fmla="*/ 278 w 391"/>
                  <a:gd name="T1" fmla="*/ 320 h 376"/>
                  <a:gd name="T2" fmla="*/ 381 w 391"/>
                  <a:gd name="T3" fmla="*/ 281 h 376"/>
                  <a:gd name="T4" fmla="*/ 10 w 391"/>
                  <a:gd name="T5" fmla="*/ 299 h 376"/>
                  <a:gd name="T6" fmla="*/ 16 w 391"/>
                  <a:gd name="T7" fmla="*/ 302 h 376"/>
                  <a:gd name="T8" fmla="*/ 158 w 391"/>
                  <a:gd name="T9" fmla="*/ 302 h 376"/>
                  <a:gd name="T10" fmla="*/ 165 w 391"/>
                  <a:gd name="T11" fmla="*/ 299 h 376"/>
                  <a:gd name="T12" fmla="*/ 70 w 391"/>
                  <a:gd name="T13" fmla="*/ 367 h 376"/>
                  <a:gd name="T14" fmla="*/ 165 w 391"/>
                  <a:gd name="T15" fmla="*/ 56 h 376"/>
                  <a:gd name="T16" fmla="*/ 160 w 391"/>
                  <a:gd name="T17" fmla="*/ 75 h 376"/>
                  <a:gd name="T18" fmla="*/ 21 w 391"/>
                  <a:gd name="T19" fmla="*/ 74 h 376"/>
                  <a:gd name="T20" fmla="*/ 11 w 391"/>
                  <a:gd name="T21" fmla="*/ 76 h 376"/>
                  <a:gd name="T22" fmla="*/ 9 w 391"/>
                  <a:gd name="T23" fmla="*/ 259 h 376"/>
                  <a:gd name="T24" fmla="*/ 52 w 391"/>
                  <a:gd name="T25" fmla="*/ 232 h 376"/>
                  <a:gd name="T26" fmla="*/ 58 w 391"/>
                  <a:gd name="T27" fmla="*/ 242 h 376"/>
                  <a:gd name="T28" fmla="*/ 69 w 391"/>
                  <a:gd name="T29" fmla="*/ 289 h 376"/>
                  <a:gd name="T30" fmla="*/ 110 w 391"/>
                  <a:gd name="T31" fmla="*/ 259 h 376"/>
                  <a:gd name="T32" fmla="*/ 122 w 391"/>
                  <a:gd name="T33" fmla="*/ 256 h 376"/>
                  <a:gd name="T34" fmla="*/ 165 w 391"/>
                  <a:gd name="T35" fmla="*/ 281 h 376"/>
                  <a:gd name="T36" fmla="*/ 9 w 391"/>
                  <a:gd name="T37" fmla="*/ 281 h 376"/>
                  <a:gd name="T38" fmla="*/ 165 w 391"/>
                  <a:gd name="T39" fmla="*/ 250 h 376"/>
                  <a:gd name="T40" fmla="*/ 118 w 391"/>
                  <a:gd name="T41" fmla="*/ 217 h 376"/>
                  <a:gd name="T42" fmla="*/ 106 w 391"/>
                  <a:gd name="T43" fmla="*/ 250 h 376"/>
                  <a:gd name="T44" fmla="*/ 70 w 391"/>
                  <a:gd name="T45" fmla="*/ 255 h 376"/>
                  <a:gd name="T46" fmla="*/ 62 w 391"/>
                  <a:gd name="T47" fmla="*/ 233 h 376"/>
                  <a:gd name="T48" fmla="*/ 48 w 391"/>
                  <a:gd name="T49" fmla="*/ 201 h 376"/>
                  <a:gd name="T50" fmla="*/ 9 w 391"/>
                  <a:gd name="T51" fmla="*/ 95 h 376"/>
                  <a:gd name="T52" fmla="*/ 165 w 391"/>
                  <a:gd name="T53" fmla="*/ 95 h 376"/>
                  <a:gd name="T54" fmla="*/ 182 w 391"/>
                  <a:gd name="T55" fmla="*/ 169 h 376"/>
                  <a:gd name="T56" fmla="*/ 182 w 391"/>
                  <a:gd name="T57" fmla="*/ 207 h 376"/>
                  <a:gd name="T58" fmla="*/ 221 w 391"/>
                  <a:gd name="T59" fmla="*/ 367 h 376"/>
                  <a:gd name="T60" fmla="*/ 174 w 391"/>
                  <a:gd name="T61" fmla="*/ 216 h 376"/>
                  <a:gd name="T62" fmla="*/ 197 w 391"/>
                  <a:gd name="T63" fmla="*/ 174 h 376"/>
                  <a:gd name="T64" fmla="*/ 174 w 391"/>
                  <a:gd name="T65" fmla="*/ 95 h 376"/>
                  <a:gd name="T66" fmla="*/ 269 w 391"/>
                  <a:gd name="T67" fmla="*/ 56 h 376"/>
                  <a:gd name="T68" fmla="*/ 269 w 391"/>
                  <a:gd name="T69" fmla="*/ 320 h 376"/>
                  <a:gd name="T70" fmla="*/ 278 w 391"/>
                  <a:gd name="T71" fmla="*/ 241 h 376"/>
                  <a:gd name="T72" fmla="*/ 381 w 391"/>
                  <a:gd name="T73" fmla="*/ 241 h 376"/>
                  <a:gd name="T74" fmla="*/ 381 w 391"/>
                  <a:gd name="T75" fmla="*/ 192 h 376"/>
                  <a:gd name="T76" fmla="*/ 251 w 391"/>
                  <a:gd name="T77" fmla="*/ 9 h 376"/>
                  <a:gd name="T78" fmla="*/ 70 w 391"/>
                  <a:gd name="T79" fmla="*/ 0 h 376"/>
                  <a:gd name="T80" fmla="*/ 70 w 391"/>
                  <a:gd name="T81" fmla="*/ 376 h 376"/>
                  <a:gd name="T82" fmla="*/ 391 w 391"/>
                  <a:gd name="T83" fmla="*/ 281 h 376"/>
                  <a:gd name="T84" fmla="*/ 391 w 391"/>
                  <a:gd name="T85" fmla="*/ 95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91" h="376">
                    <a:moveTo>
                      <a:pt x="321" y="367"/>
                    </a:moveTo>
                    <a:lnTo>
                      <a:pt x="251" y="367"/>
                    </a:lnTo>
                    <a:cubicBezTo>
                      <a:pt x="267" y="357"/>
                      <a:pt x="278" y="339"/>
                      <a:pt x="278" y="320"/>
                    </a:cubicBezTo>
                    <a:lnTo>
                      <a:pt x="278" y="250"/>
                    </a:lnTo>
                    <a:lnTo>
                      <a:pt x="381" y="250"/>
                    </a:lnTo>
                    <a:lnTo>
                      <a:pt x="381" y="281"/>
                    </a:lnTo>
                    <a:cubicBezTo>
                      <a:pt x="381" y="323"/>
                      <a:pt x="366" y="367"/>
                      <a:pt x="321" y="367"/>
                    </a:cubicBezTo>
                    <a:close/>
                    <a:moveTo>
                      <a:pt x="70" y="367"/>
                    </a:moveTo>
                    <a:cubicBezTo>
                      <a:pt x="32" y="367"/>
                      <a:pt x="15" y="335"/>
                      <a:pt x="10" y="299"/>
                    </a:cubicBezTo>
                    <a:cubicBezTo>
                      <a:pt x="11" y="300"/>
                      <a:pt x="11" y="300"/>
                      <a:pt x="11" y="300"/>
                    </a:cubicBezTo>
                    <a:cubicBezTo>
                      <a:pt x="12" y="300"/>
                      <a:pt x="14" y="301"/>
                      <a:pt x="15" y="301"/>
                    </a:cubicBezTo>
                    <a:cubicBezTo>
                      <a:pt x="15" y="302"/>
                      <a:pt x="16" y="302"/>
                      <a:pt x="16" y="302"/>
                    </a:cubicBezTo>
                    <a:cubicBezTo>
                      <a:pt x="18" y="302"/>
                      <a:pt x="20" y="303"/>
                      <a:pt x="21" y="303"/>
                    </a:cubicBezTo>
                    <a:lnTo>
                      <a:pt x="152" y="303"/>
                    </a:lnTo>
                    <a:cubicBezTo>
                      <a:pt x="154" y="303"/>
                      <a:pt x="156" y="302"/>
                      <a:pt x="158" y="302"/>
                    </a:cubicBezTo>
                    <a:cubicBezTo>
                      <a:pt x="159" y="302"/>
                      <a:pt x="159" y="301"/>
                      <a:pt x="160" y="301"/>
                    </a:cubicBezTo>
                    <a:cubicBezTo>
                      <a:pt x="161" y="301"/>
                      <a:pt x="163" y="300"/>
                      <a:pt x="165" y="299"/>
                    </a:cubicBezTo>
                    <a:lnTo>
                      <a:pt x="165" y="299"/>
                    </a:lnTo>
                    <a:lnTo>
                      <a:pt x="165" y="320"/>
                    </a:lnTo>
                    <a:cubicBezTo>
                      <a:pt x="165" y="339"/>
                      <a:pt x="175" y="357"/>
                      <a:pt x="191" y="367"/>
                    </a:cubicBezTo>
                    <a:lnTo>
                      <a:pt x="70" y="367"/>
                    </a:lnTo>
                    <a:close/>
                    <a:moveTo>
                      <a:pt x="70" y="9"/>
                    </a:moveTo>
                    <a:lnTo>
                      <a:pt x="191" y="9"/>
                    </a:lnTo>
                    <a:cubicBezTo>
                      <a:pt x="175" y="19"/>
                      <a:pt x="165" y="37"/>
                      <a:pt x="165" y="56"/>
                    </a:cubicBezTo>
                    <a:lnTo>
                      <a:pt x="165" y="77"/>
                    </a:lnTo>
                    <a:cubicBezTo>
                      <a:pt x="165" y="77"/>
                      <a:pt x="165" y="77"/>
                      <a:pt x="165" y="77"/>
                    </a:cubicBezTo>
                    <a:cubicBezTo>
                      <a:pt x="163" y="76"/>
                      <a:pt x="161" y="75"/>
                      <a:pt x="160" y="75"/>
                    </a:cubicBezTo>
                    <a:cubicBezTo>
                      <a:pt x="159" y="75"/>
                      <a:pt x="159" y="75"/>
                      <a:pt x="158" y="74"/>
                    </a:cubicBezTo>
                    <a:cubicBezTo>
                      <a:pt x="156" y="74"/>
                      <a:pt x="154" y="74"/>
                      <a:pt x="152" y="74"/>
                    </a:cubicBezTo>
                    <a:lnTo>
                      <a:pt x="21" y="74"/>
                    </a:lnTo>
                    <a:cubicBezTo>
                      <a:pt x="20" y="74"/>
                      <a:pt x="18" y="74"/>
                      <a:pt x="16" y="74"/>
                    </a:cubicBezTo>
                    <a:cubicBezTo>
                      <a:pt x="16" y="74"/>
                      <a:pt x="15" y="75"/>
                      <a:pt x="15" y="75"/>
                    </a:cubicBezTo>
                    <a:cubicBezTo>
                      <a:pt x="14" y="75"/>
                      <a:pt x="12" y="76"/>
                      <a:pt x="11" y="76"/>
                    </a:cubicBezTo>
                    <a:cubicBezTo>
                      <a:pt x="11" y="76"/>
                      <a:pt x="11" y="76"/>
                      <a:pt x="10" y="77"/>
                    </a:cubicBezTo>
                    <a:cubicBezTo>
                      <a:pt x="15" y="41"/>
                      <a:pt x="32" y="9"/>
                      <a:pt x="70" y="9"/>
                    </a:cubicBezTo>
                    <a:close/>
                    <a:moveTo>
                      <a:pt x="9" y="259"/>
                    </a:moveTo>
                    <a:lnTo>
                      <a:pt x="43" y="259"/>
                    </a:lnTo>
                    <a:cubicBezTo>
                      <a:pt x="45" y="259"/>
                      <a:pt x="47" y="258"/>
                      <a:pt x="48" y="256"/>
                    </a:cubicBezTo>
                    <a:lnTo>
                      <a:pt x="52" y="232"/>
                    </a:lnTo>
                    <a:lnTo>
                      <a:pt x="53" y="238"/>
                    </a:lnTo>
                    <a:cubicBezTo>
                      <a:pt x="53" y="240"/>
                      <a:pt x="55" y="242"/>
                      <a:pt x="57" y="242"/>
                    </a:cubicBezTo>
                    <a:lnTo>
                      <a:pt x="58" y="242"/>
                    </a:lnTo>
                    <a:lnTo>
                      <a:pt x="64" y="285"/>
                    </a:lnTo>
                    <a:cubicBezTo>
                      <a:pt x="64" y="287"/>
                      <a:pt x="66" y="289"/>
                      <a:pt x="68" y="289"/>
                    </a:cubicBezTo>
                    <a:lnTo>
                      <a:pt x="69" y="289"/>
                    </a:lnTo>
                    <a:cubicBezTo>
                      <a:pt x="71" y="289"/>
                      <a:pt x="73" y="287"/>
                      <a:pt x="73" y="285"/>
                    </a:cubicBezTo>
                    <a:lnTo>
                      <a:pt x="78" y="259"/>
                    </a:lnTo>
                    <a:lnTo>
                      <a:pt x="110" y="259"/>
                    </a:lnTo>
                    <a:cubicBezTo>
                      <a:pt x="112" y="259"/>
                      <a:pt x="114" y="258"/>
                      <a:pt x="115" y="256"/>
                    </a:cubicBezTo>
                    <a:lnTo>
                      <a:pt x="118" y="241"/>
                    </a:lnTo>
                    <a:lnTo>
                      <a:pt x="122" y="256"/>
                    </a:lnTo>
                    <a:cubicBezTo>
                      <a:pt x="123" y="258"/>
                      <a:pt x="125" y="259"/>
                      <a:pt x="127" y="259"/>
                    </a:cubicBezTo>
                    <a:lnTo>
                      <a:pt x="165" y="259"/>
                    </a:lnTo>
                    <a:lnTo>
                      <a:pt x="165" y="281"/>
                    </a:lnTo>
                    <a:cubicBezTo>
                      <a:pt x="165" y="288"/>
                      <a:pt x="159" y="293"/>
                      <a:pt x="152" y="293"/>
                    </a:cubicBezTo>
                    <a:lnTo>
                      <a:pt x="21" y="293"/>
                    </a:lnTo>
                    <a:cubicBezTo>
                      <a:pt x="15" y="293"/>
                      <a:pt x="9" y="288"/>
                      <a:pt x="9" y="281"/>
                    </a:cubicBezTo>
                    <a:lnTo>
                      <a:pt x="9" y="259"/>
                    </a:lnTo>
                    <a:close/>
                    <a:moveTo>
                      <a:pt x="165" y="165"/>
                    </a:moveTo>
                    <a:lnTo>
                      <a:pt x="165" y="250"/>
                    </a:lnTo>
                    <a:lnTo>
                      <a:pt x="131" y="250"/>
                    </a:lnTo>
                    <a:lnTo>
                      <a:pt x="123" y="220"/>
                    </a:lnTo>
                    <a:cubicBezTo>
                      <a:pt x="122" y="218"/>
                      <a:pt x="121" y="217"/>
                      <a:pt x="118" y="217"/>
                    </a:cubicBezTo>
                    <a:lnTo>
                      <a:pt x="118" y="217"/>
                    </a:lnTo>
                    <a:cubicBezTo>
                      <a:pt x="116" y="217"/>
                      <a:pt x="114" y="218"/>
                      <a:pt x="114" y="220"/>
                    </a:cubicBezTo>
                    <a:lnTo>
                      <a:pt x="106" y="250"/>
                    </a:lnTo>
                    <a:lnTo>
                      <a:pt x="74" y="250"/>
                    </a:lnTo>
                    <a:cubicBezTo>
                      <a:pt x="72" y="250"/>
                      <a:pt x="70" y="252"/>
                      <a:pt x="70" y="254"/>
                    </a:cubicBezTo>
                    <a:lnTo>
                      <a:pt x="70" y="255"/>
                    </a:lnTo>
                    <a:lnTo>
                      <a:pt x="67" y="237"/>
                    </a:lnTo>
                    <a:cubicBezTo>
                      <a:pt x="67" y="235"/>
                      <a:pt x="65" y="233"/>
                      <a:pt x="63" y="233"/>
                    </a:cubicBezTo>
                    <a:lnTo>
                      <a:pt x="62" y="233"/>
                    </a:lnTo>
                    <a:lnTo>
                      <a:pt x="57" y="202"/>
                    </a:lnTo>
                    <a:cubicBezTo>
                      <a:pt x="57" y="199"/>
                      <a:pt x="55" y="198"/>
                      <a:pt x="53" y="198"/>
                    </a:cubicBezTo>
                    <a:cubicBezTo>
                      <a:pt x="50" y="197"/>
                      <a:pt x="48" y="199"/>
                      <a:pt x="48" y="201"/>
                    </a:cubicBezTo>
                    <a:lnTo>
                      <a:pt x="39" y="250"/>
                    </a:lnTo>
                    <a:lnTo>
                      <a:pt x="9" y="250"/>
                    </a:lnTo>
                    <a:lnTo>
                      <a:pt x="9" y="95"/>
                    </a:lnTo>
                    <a:cubicBezTo>
                      <a:pt x="9" y="88"/>
                      <a:pt x="15" y="83"/>
                      <a:pt x="21" y="83"/>
                    </a:cubicBezTo>
                    <a:lnTo>
                      <a:pt x="152" y="83"/>
                    </a:lnTo>
                    <a:cubicBezTo>
                      <a:pt x="159" y="83"/>
                      <a:pt x="165" y="88"/>
                      <a:pt x="165" y="95"/>
                    </a:cubicBezTo>
                    <a:lnTo>
                      <a:pt x="165" y="165"/>
                    </a:lnTo>
                    <a:close/>
                    <a:moveTo>
                      <a:pt x="174" y="169"/>
                    </a:moveTo>
                    <a:lnTo>
                      <a:pt x="182" y="169"/>
                    </a:lnTo>
                    <a:cubicBezTo>
                      <a:pt x="185" y="169"/>
                      <a:pt x="187" y="172"/>
                      <a:pt x="187" y="174"/>
                    </a:cubicBezTo>
                    <a:lnTo>
                      <a:pt x="187" y="202"/>
                    </a:lnTo>
                    <a:cubicBezTo>
                      <a:pt x="187" y="204"/>
                      <a:pt x="185" y="207"/>
                      <a:pt x="182" y="207"/>
                    </a:cubicBezTo>
                    <a:lnTo>
                      <a:pt x="174" y="207"/>
                    </a:lnTo>
                    <a:lnTo>
                      <a:pt x="174" y="169"/>
                    </a:lnTo>
                    <a:close/>
                    <a:moveTo>
                      <a:pt x="221" y="367"/>
                    </a:moveTo>
                    <a:cubicBezTo>
                      <a:pt x="197" y="367"/>
                      <a:pt x="174" y="344"/>
                      <a:pt x="174" y="320"/>
                    </a:cubicBezTo>
                    <a:lnTo>
                      <a:pt x="174" y="281"/>
                    </a:lnTo>
                    <a:lnTo>
                      <a:pt x="174" y="216"/>
                    </a:lnTo>
                    <a:lnTo>
                      <a:pt x="182" y="216"/>
                    </a:lnTo>
                    <a:cubicBezTo>
                      <a:pt x="190" y="216"/>
                      <a:pt x="197" y="210"/>
                      <a:pt x="197" y="202"/>
                    </a:cubicBezTo>
                    <a:lnTo>
                      <a:pt x="197" y="174"/>
                    </a:lnTo>
                    <a:cubicBezTo>
                      <a:pt x="197" y="166"/>
                      <a:pt x="190" y="160"/>
                      <a:pt x="182" y="160"/>
                    </a:cubicBezTo>
                    <a:lnTo>
                      <a:pt x="174" y="160"/>
                    </a:lnTo>
                    <a:lnTo>
                      <a:pt x="174" y="95"/>
                    </a:lnTo>
                    <a:lnTo>
                      <a:pt x="174" y="56"/>
                    </a:lnTo>
                    <a:cubicBezTo>
                      <a:pt x="174" y="32"/>
                      <a:pt x="197" y="9"/>
                      <a:pt x="221" y="9"/>
                    </a:cubicBezTo>
                    <a:cubicBezTo>
                      <a:pt x="246" y="9"/>
                      <a:pt x="269" y="32"/>
                      <a:pt x="269" y="56"/>
                    </a:cubicBezTo>
                    <a:lnTo>
                      <a:pt x="269" y="197"/>
                    </a:lnTo>
                    <a:lnTo>
                      <a:pt x="269" y="245"/>
                    </a:lnTo>
                    <a:lnTo>
                      <a:pt x="269" y="320"/>
                    </a:lnTo>
                    <a:cubicBezTo>
                      <a:pt x="269" y="344"/>
                      <a:pt x="246" y="367"/>
                      <a:pt x="221" y="367"/>
                    </a:cubicBezTo>
                    <a:close/>
                    <a:moveTo>
                      <a:pt x="381" y="241"/>
                    </a:moveTo>
                    <a:lnTo>
                      <a:pt x="278" y="241"/>
                    </a:lnTo>
                    <a:lnTo>
                      <a:pt x="278" y="202"/>
                    </a:lnTo>
                    <a:lnTo>
                      <a:pt x="381" y="202"/>
                    </a:lnTo>
                    <a:lnTo>
                      <a:pt x="381" y="241"/>
                    </a:lnTo>
                    <a:close/>
                    <a:moveTo>
                      <a:pt x="321" y="9"/>
                    </a:moveTo>
                    <a:cubicBezTo>
                      <a:pt x="366" y="9"/>
                      <a:pt x="381" y="53"/>
                      <a:pt x="381" y="95"/>
                    </a:cubicBezTo>
                    <a:lnTo>
                      <a:pt x="381" y="192"/>
                    </a:lnTo>
                    <a:lnTo>
                      <a:pt x="278" y="192"/>
                    </a:lnTo>
                    <a:lnTo>
                      <a:pt x="278" y="56"/>
                    </a:lnTo>
                    <a:cubicBezTo>
                      <a:pt x="278" y="37"/>
                      <a:pt x="267" y="19"/>
                      <a:pt x="251" y="9"/>
                    </a:cubicBezTo>
                    <a:lnTo>
                      <a:pt x="321" y="9"/>
                    </a:lnTo>
                    <a:close/>
                    <a:moveTo>
                      <a:pt x="321" y="0"/>
                    </a:moveTo>
                    <a:lnTo>
                      <a:pt x="70" y="0"/>
                    </a:lnTo>
                    <a:cubicBezTo>
                      <a:pt x="27" y="0"/>
                      <a:pt x="0" y="37"/>
                      <a:pt x="0" y="95"/>
                    </a:cubicBezTo>
                    <a:lnTo>
                      <a:pt x="0" y="281"/>
                    </a:lnTo>
                    <a:cubicBezTo>
                      <a:pt x="0" y="339"/>
                      <a:pt x="27" y="376"/>
                      <a:pt x="70" y="376"/>
                    </a:cubicBezTo>
                    <a:lnTo>
                      <a:pt x="221" y="376"/>
                    </a:lnTo>
                    <a:lnTo>
                      <a:pt x="321" y="376"/>
                    </a:lnTo>
                    <a:cubicBezTo>
                      <a:pt x="363" y="376"/>
                      <a:pt x="391" y="339"/>
                      <a:pt x="391" y="281"/>
                    </a:cubicBezTo>
                    <a:lnTo>
                      <a:pt x="391" y="245"/>
                    </a:lnTo>
                    <a:lnTo>
                      <a:pt x="391" y="197"/>
                    </a:lnTo>
                    <a:lnTo>
                      <a:pt x="391" y="95"/>
                    </a:lnTo>
                    <a:cubicBezTo>
                      <a:pt x="391" y="37"/>
                      <a:pt x="363" y="0"/>
                      <a:pt x="32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34" name="Freeform 1074">
                <a:extLst>
                  <a:ext uri="{FF2B5EF4-FFF2-40B4-BE49-F238E27FC236}">
                    <a16:creationId xmlns:a16="http://schemas.microsoft.com/office/drawing/2014/main" id="{8B59E200-09B4-4EAA-B383-9DA9C682B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7726" y="1843088"/>
                <a:ext cx="100013" cy="139700"/>
              </a:xfrm>
              <a:custGeom>
                <a:avLst/>
                <a:gdLst>
                  <a:gd name="T0" fmla="*/ 70 w 130"/>
                  <a:gd name="T1" fmla="*/ 0 h 183"/>
                  <a:gd name="T2" fmla="*/ 130 w 130"/>
                  <a:gd name="T3" fmla="*/ 86 h 183"/>
                  <a:gd name="T4" fmla="*/ 130 w 130"/>
                  <a:gd name="T5" fmla="*/ 183 h 183"/>
                  <a:gd name="T6" fmla="*/ 27 w 130"/>
                  <a:gd name="T7" fmla="*/ 183 h 183"/>
                  <a:gd name="T8" fmla="*/ 27 w 130"/>
                  <a:gd name="T9" fmla="*/ 47 h 183"/>
                  <a:gd name="T10" fmla="*/ 0 w 130"/>
                  <a:gd name="T11" fmla="*/ 0 h 183"/>
                  <a:gd name="T12" fmla="*/ 70 w 130"/>
                  <a:gd name="T13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183">
                    <a:moveTo>
                      <a:pt x="70" y="0"/>
                    </a:moveTo>
                    <a:cubicBezTo>
                      <a:pt x="115" y="0"/>
                      <a:pt x="130" y="44"/>
                      <a:pt x="130" y="86"/>
                    </a:cubicBezTo>
                    <a:lnTo>
                      <a:pt x="130" y="183"/>
                    </a:lnTo>
                    <a:lnTo>
                      <a:pt x="27" y="183"/>
                    </a:lnTo>
                    <a:lnTo>
                      <a:pt x="27" y="47"/>
                    </a:lnTo>
                    <a:cubicBezTo>
                      <a:pt x="27" y="28"/>
                      <a:pt x="16" y="10"/>
                      <a:pt x="0" y="0"/>
                    </a:cubicBezTo>
                    <a:lnTo>
                      <a:pt x="7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35" name="Freeform 1076">
                <a:extLst>
                  <a:ext uri="{FF2B5EF4-FFF2-40B4-BE49-F238E27FC236}">
                    <a16:creationId xmlns:a16="http://schemas.microsoft.com/office/drawing/2014/main" id="{3052807E-7936-4158-A467-5BBAD29EE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0576" y="1963738"/>
                <a:ext cx="9525" cy="30163"/>
              </a:xfrm>
              <a:custGeom>
                <a:avLst/>
                <a:gdLst>
                  <a:gd name="T0" fmla="*/ 0 w 13"/>
                  <a:gd name="T1" fmla="*/ 0 h 38"/>
                  <a:gd name="T2" fmla="*/ 8 w 13"/>
                  <a:gd name="T3" fmla="*/ 0 h 38"/>
                  <a:gd name="T4" fmla="*/ 13 w 13"/>
                  <a:gd name="T5" fmla="*/ 5 h 38"/>
                  <a:gd name="T6" fmla="*/ 13 w 13"/>
                  <a:gd name="T7" fmla="*/ 33 h 38"/>
                  <a:gd name="T8" fmla="*/ 8 w 13"/>
                  <a:gd name="T9" fmla="*/ 38 h 38"/>
                  <a:gd name="T10" fmla="*/ 0 w 13"/>
                  <a:gd name="T11" fmla="*/ 38 h 38"/>
                  <a:gd name="T12" fmla="*/ 0 w 13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38">
                    <a:moveTo>
                      <a:pt x="0" y="0"/>
                    </a:moveTo>
                    <a:lnTo>
                      <a:pt x="8" y="0"/>
                    </a:lnTo>
                    <a:cubicBezTo>
                      <a:pt x="11" y="0"/>
                      <a:pt x="13" y="3"/>
                      <a:pt x="13" y="5"/>
                    </a:cubicBezTo>
                    <a:lnTo>
                      <a:pt x="13" y="33"/>
                    </a:lnTo>
                    <a:cubicBezTo>
                      <a:pt x="13" y="35"/>
                      <a:pt x="11" y="38"/>
                      <a:pt x="8" y="38"/>
                    </a:cubicBezTo>
                    <a:lnTo>
                      <a:pt x="0" y="3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36" name="Freeform 1078">
                <a:extLst>
                  <a:ext uri="{FF2B5EF4-FFF2-40B4-BE49-F238E27FC236}">
                    <a16:creationId xmlns:a16="http://schemas.microsoft.com/office/drawing/2014/main" id="{682ABA49-AE9F-4B18-AF25-39136F69B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5164" y="1843088"/>
                <a:ext cx="138113" cy="50800"/>
              </a:xfrm>
              <a:custGeom>
                <a:avLst/>
                <a:gdLst>
                  <a:gd name="T0" fmla="*/ 60 w 181"/>
                  <a:gd name="T1" fmla="*/ 0 h 68"/>
                  <a:gd name="T2" fmla="*/ 181 w 181"/>
                  <a:gd name="T3" fmla="*/ 0 h 68"/>
                  <a:gd name="T4" fmla="*/ 155 w 181"/>
                  <a:gd name="T5" fmla="*/ 47 h 68"/>
                  <a:gd name="T6" fmla="*/ 155 w 181"/>
                  <a:gd name="T7" fmla="*/ 68 h 68"/>
                  <a:gd name="T8" fmla="*/ 155 w 181"/>
                  <a:gd name="T9" fmla="*/ 68 h 68"/>
                  <a:gd name="T10" fmla="*/ 150 w 181"/>
                  <a:gd name="T11" fmla="*/ 66 h 68"/>
                  <a:gd name="T12" fmla="*/ 148 w 181"/>
                  <a:gd name="T13" fmla="*/ 65 h 68"/>
                  <a:gd name="T14" fmla="*/ 142 w 181"/>
                  <a:gd name="T15" fmla="*/ 65 h 68"/>
                  <a:gd name="T16" fmla="*/ 11 w 181"/>
                  <a:gd name="T17" fmla="*/ 65 h 68"/>
                  <a:gd name="T18" fmla="*/ 6 w 181"/>
                  <a:gd name="T19" fmla="*/ 65 h 68"/>
                  <a:gd name="T20" fmla="*/ 5 w 181"/>
                  <a:gd name="T21" fmla="*/ 66 h 68"/>
                  <a:gd name="T22" fmla="*/ 1 w 181"/>
                  <a:gd name="T23" fmla="*/ 67 h 68"/>
                  <a:gd name="T24" fmla="*/ 0 w 181"/>
                  <a:gd name="T25" fmla="*/ 68 h 68"/>
                  <a:gd name="T26" fmla="*/ 60 w 181"/>
                  <a:gd name="T2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1" h="68">
                    <a:moveTo>
                      <a:pt x="60" y="0"/>
                    </a:moveTo>
                    <a:lnTo>
                      <a:pt x="181" y="0"/>
                    </a:lnTo>
                    <a:cubicBezTo>
                      <a:pt x="165" y="10"/>
                      <a:pt x="155" y="28"/>
                      <a:pt x="155" y="47"/>
                    </a:cubicBezTo>
                    <a:lnTo>
                      <a:pt x="155" y="68"/>
                    </a:lnTo>
                    <a:cubicBezTo>
                      <a:pt x="155" y="68"/>
                      <a:pt x="155" y="68"/>
                      <a:pt x="155" y="68"/>
                    </a:cubicBezTo>
                    <a:cubicBezTo>
                      <a:pt x="153" y="67"/>
                      <a:pt x="151" y="66"/>
                      <a:pt x="150" y="66"/>
                    </a:cubicBezTo>
                    <a:cubicBezTo>
                      <a:pt x="149" y="66"/>
                      <a:pt x="149" y="66"/>
                      <a:pt x="148" y="65"/>
                    </a:cubicBezTo>
                    <a:cubicBezTo>
                      <a:pt x="146" y="65"/>
                      <a:pt x="144" y="65"/>
                      <a:pt x="142" y="65"/>
                    </a:cubicBezTo>
                    <a:lnTo>
                      <a:pt x="11" y="65"/>
                    </a:lnTo>
                    <a:cubicBezTo>
                      <a:pt x="10" y="65"/>
                      <a:pt x="8" y="65"/>
                      <a:pt x="6" y="65"/>
                    </a:cubicBezTo>
                    <a:cubicBezTo>
                      <a:pt x="6" y="65"/>
                      <a:pt x="5" y="66"/>
                      <a:pt x="5" y="66"/>
                    </a:cubicBezTo>
                    <a:cubicBezTo>
                      <a:pt x="4" y="66"/>
                      <a:pt x="2" y="67"/>
                      <a:pt x="1" y="67"/>
                    </a:cubicBezTo>
                    <a:cubicBezTo>
                      <a:pt x="1" y="67"/>
                      <a:pt x="1" y="67"/>
                      <a:pt x="0" y="68"/>
                    </a:cubicBezTo>
                    <a:cubicBezTo>
                      <a:pt x="5" y="32"/>
                      <a:pt x="22" y="0"/>
                      <a:pt x="6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37" name="Freeform 1079">
                <a:extLst>
                  <a:ext uri="{FF2B5EF4-FFF2-40B4-BE49-F238E27FC236}">
                    <a16:creationId xmlns:a16="http://schemas.microsoft.com/office/drawing/2014/main" id="{E787E0B5-49AA-4163-8E62-E913CDD8D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5164" y="2063751"/>
                <a:ext cx="138113" cy="52388"/>
              </a:xfrm>
              <a:custGeom>
                <a:avLst/>
                <a:gdLst>
                  <a:gd name="T0" fmla="*/ 60 w 181"/>
                  <a:gd name="T1" fmla="*/ 68 h 68"/>
                  <a:gd name="T2" fmla="*/ 0 w 181"/>
                  <a:gd name="T3" fmla="*/ 0 h 68"/>
                  <a:gd name="T4" fmla="*/ 1 w 181"/>
                  <a:gd name="T5" fmla="*/ 1 h 68"/>
                  <a:gd name="T6" fmla="*/ 5 w 181"/>
                  <a:gd name="T7" fmla="*/ 2 h 68"/>
                  <a:gd name="T8" fmla="*/ 6 w 181"/>
                  <a:gd name="T9" fmla="*/ 3 h 68"/>
                  <a:gd name="T10" fmla="*/ 11 w 181"/>
                  <a:gd name="T11" fmla="*/ 4 h 68"/>
                  <a:gd name="T12" fmla="*/ 142 w 181"/>
                  <a:gd name="T13" fmla="*/ 4 h 68"/>
                  <a:gd name="T14" fmla="*/ 148 w 181"/>
                  <a:gd name="T15" fmla="*/ 3 h 68"/>
                  <a:gd name="T16" fmla="*/ 150 w 181"/>
                  <a:gd name="T17" fmla="*/ 2 h 68"/>
                  <a:gd name="T18" fmla="*/ 155 w 181"/>
                  <a:gd name="T19" fmla="*/ 0 h 68"/>
                  <a:gd name="T20" fmla="*/ 155 w 181"/>
                  <a:gd name="T21" fmla="*/ 0 h 68"/>
                  <a:gd name="T22" fmla="*/ 155 w 181"/>
                  <a:gd name="T23" fmla="*/ 21 h 68"/>
                  <a:gd name="T24" fmla="*/ 181 w 181"/>
                  <a:gd name="T25" fmla="*/ 68 h 68"/>
                  <a:gd name="T26" fmla="*/ 60 w 181"/>
                  <a:gd name="T27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1" h="68">
                    <a:moveTo>
                      <a:pt x="60" y="68"/>
                    </a:moveTo>
                    <a:cubicBezTo>
                      <a:pt x="22" y="68"/>
                      <a:pt x="5" y="36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4" y="2"/>
                      <a:pt x="5" y="2"/>
                    </a:cubicBezTo>
                    <a:cubicBezTo>
                      <a:pt x="5" y="3"/>
                      <a:pt x="6" y="3"/>
                      <a:pt x="6" y="3"/>
                    </a:cubicBezTo>
                    <a:cubicBezTo>
                      <a:pt x="8" y="3"/>
                      <a:pt x="10" y="4"/>
                      <a:pt x="11" y="4"/>
                    </a:cubicBezTo>
                    <a:lnTo>
                      <a:pt x="142" y="4"/>
                    </a:lnTo>
                    <a:cubicBezTo>
                      <a:pt x="144" y="4"/>
                      <a:pt x="146" y="3"/>
                      <a:pt x="148" y="3"/>
                    </a:cubicBezTo>
                    <a:cubicBezTo>
                      <a:pt x="149" y="3"/>
                      <a:pt x="149" y="2"/>
                      <a:pt x="150" y="2"/>
                    </a:cubicBezTo>
                    <a:cubicBezTo>
                      <a:pt x="151" y="2"/>
                      <a:pt x="153" y="1"/>
                      <a:pt x="155" y="0"/>
                    </a:cubicBezTo>
                    <a:lnTo>
                      <a:pt x="155" y="0"/>
                    </a:lnTo>
                    <a:lnTo>
                      <a:pt x="155" y="21"/>
                    </a:lnTo>
                    <a:cubicBezTo>
                      <a:pt x="155" y="40"/>
                      <a:pt x="165" y="58"/>
                      <a:pt x="181" y="68"/>
                    </a:cubicBezTo>
                    <a:lnTo>
                      <a:pt x="60" y="6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38" name="Freeform 1080">
                <a:extLst>
                  <a:ext uri="{FF2B5EF4-FFF2-40B4-BE49-F238E27FC236}">
                    <a16:creationId xmlns:a16="http://schemas.microsoft.com/office/drawing/2014/main" id="{3911DD75-96F0-4356-B2C6-60C32BBEB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7726" y="2025651"/>
                <a:ext cx="100013" cy="90488"/>
              </a:xfrm>
              <a:custGeom>
                <a:avLst/>
                <a:gdLst>
                  <a:gd name="T0" fmla="*/ 70 w 130"/>
                  <a:gd name="T1" fmla="*/ 117 h 117"/>
                  <a:gd name="T2" fmla="*/ 0 w 130"/>
                  <a:gd name="T3" fmla="*/ 117 h 117"/>
                  <a:gd name="T4" fmla="*/ 27 w 130"/>
                  <a:gd name="T5" fmla="*/ 70 h 117"/>
                  <a:gd name="T6" fmla="*/ 27 w 130"/>
                  <a:gd name="T7" fmla="*/ 0 h 117"/>
                  <a:gd name="T8" fmla="*/ 130 w 130"/>
                  <a:gd name="T9" fmla="*/ 0 h 117"/>
                  <a:gd name="T10" fmla="*/ 130 w 130"/>
                  <a:gd name="T11" fmla="*/ 31 h 117"/>
                  <a:gd name="T12" fmla="*/ 70 w 130"/>
                  <a:gd name="T13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117">
                    <a:moveTo>
                      <a:pt x="70" y="117"/>
                    </a:moveTo>
                    <a:lnTo>
                      <a:pt x="0" y="117"/>
                    </a:lnTo>
                    <a:cubicBezTo>
                      <a:pt x="16" y="107"/>
                      <a:pt x="27" y="89"/>
                      <a:pt x="27" y="70"/>
                    </a:cubicBezTo>
                    <a:lnTo>
                      <a:pt x="27" y="0"/>
                    </a:lnTo>
                    <a:lnTo>
                      <a:pt x="130" y="0"/>
                    </a:lnTo>
                    <a:lnTo>
                      <a:pt x="130" y="31"/>
                    </a:lnTo>
                    <a:cubicBezTo>
                      <a:pt x="130" y="73"/>
                      <a:pt x="115" y="117"/>
                      <a:pt x="70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39" name="Freeform 1081">
                <a:extLst>
                  <a:ext uri="{FF2B5EF4-FFF2-40B4-BE49-F238E27FC236}">
                    <a16:creationId xmlns:a16="http://schemas.microsoft.com/office/drawing/2014/main" id="{EE95B621-A97B-41C3-9A53-A8913DB92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5801" y="1924051"/>
                <a:ext cx="74613" cy="63500"/>
              </a:xfrm>
              <a:custGeom>
                <a:avLst/>
                <a:gdLst>
                  <a:gd name="T0" fmla="*/ 83 w 98"/>
                  <a:gd name="T1" fmla="*/ 5 h 83"/>
                  <a:gd name="T2" fmla="*/ 65 w 98"/>
                  <a:gd name="T3" fmla="*/ 2 h 83"/>
                  <a:gd name="T4" fmla="*/ 53 w 98"/>
                  <a:gd name="T5" fmla="*/ 14 h 83"/>
                  <a:gd name="T6" fmla="*/ 49 w 98"/>
                  <a:gd name="T7" fmla="*/ 18 h 83"/>
                  <a:gd name="T8" fmla="*/ 44 w 98"/>
                  <a:gd name="T9" fmla="*/ 14 h 83"/>
                  <a:gd name="T10" fmla="*/ 33 w 98"/>
                  <a:gd name="T11" fmla="*/ 2 h 83"/>
                  <a:gd name="T12" fmla="*/ 27 w 98"/>
                  <a:gd name="T13" fmla="*/ 1 h 83"/>
                  <a:gd name="T14" fmla="*/ 15 w 98"/>
                  <a:gd name="T15" fmla="*/ 5 h 83"/>
                  <a:gd name="T16" fmla="*/ 9 w 98"/>
                  <a:gd name="T17" fmla="*/ 44 h 83"/>
                  <a:gd name="T18" fmla="*/ 42 w 98"/>
                  <a:gd name="T19" fmla="*/ 78 h 83"/>
                  <a:gd name="T20" fmla="*/ 49 w 98"/>
                  <a:gd name="T21" fmla="*/ 83 h 83"/>
                  <a:gd name="T22" fmla="*/ 56 w 98"/>
                  <a:gd name="T23" fmla="*/ 78 h 83"/>
                  <a:gd name="T24" fmla="*/ 89 w 98"/>
                  <a:gd name="T25" fmla="*/ 44 h 83"/>
                  <a:gd name="T26" fmla="*/ 83 w 98"/>
                  <a:gd name="T27" fmla="*/ 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8" h="83">
                    <a:moveTo>
                      <a:pt x="83" y="5"/>
                    </a:moveTo>
                    <a:cubicBezTo>
                      <a:pt x="78" y="1"/>
                      <a:pt x="71" y="0"/>
                      <a:pt x="65" y="2"/>
                    </a:cubicBezTo>
                    <a:cubicBezTo>
                      <a:pt x="61" y="4"/>
                      <a:pt x="56" y="7"/>
                      <a:pt x="53" y="14"/>
                    </a:cubicBezTo>
                    <a:cubicBezTo>
                      <a:pt x="53" y="16"/>
                      <a:pt x="51" y="18"/>
                      <a:pt x="49" y="18"/>
                    </a:cubicBezTo>
                    <a:cubicBezTo>
                      <a:pt x="47" y="18"/>
                      <a:pt x="45" y="16"/>
                      <a:pt x="44" y="14"/>
                    </a:cubicBezTo>
                    <a:cubicBezTo>
                      <a:pt x="42" y="7"/>
                      <a:pt x="37" y="4"/>
                      <a:pt x="33" y="2"/>
                    </a:cubicBezTo>
                    <a:cubicBezTo>
                      <a:pt x="31" y="2"/>
                      <a:pt x="29" y="1"/>
                      <a:pt x="27" y="1"/>
                    </a:cubicBezTo>
                    <a:cubicBezTo>
                      <a:pt x="22" y="1"/>
                      <a:pt x="18" y="2"/>
                      <a:pt x="15" y="5"/>
                    </a:cubicBezTo>
                    <a:cubicBezTo>
                      <a:pt x="5" y="11"/>
                      <a:pt x="0" y="27"/>
                      <a:pt x="9" y="44"/>
                    </a:cubicBezTo>
                    <a:cubicBezTo>
                      <a:pt x="16" y="58"/>
                      <a:pt x="30" y="68"/>
                      <a:pt x="42" y="78"/>
                    </a:cubicBezTo>
                    <a:cubicBezTo>
                      <a:pt x="45" y="79"/>
                      <a:pt x="47" y="81"/>
                      <a:pt x="49" y="83"/>
                    </a:cubicBezTo>
                    <a:cubicBezTo>
                      <a:pt x="51" y="81"/>
                      <a:pt x="53" y="79"/>
                      <a:pt x="56" y="78"/>
                    </a:cubicBezTo>
                    <a:cubicBezTo>
                      <a:pt x="68" y="68"/>
                      <a:pt x="81" y="58"/>
                      <a:pt x="89" y="44"/>
                    </a:cubicBezTo>
                    <a:cubicBezTo>
                      <a:pt x="98" y="27"/>
                      <a:pt x="93" y="11"/>
                      <a:pt x="8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0" name="Freeform 1083">
                <a:extLst>
                  <a:ext uri="{FF2B5EF4-FFF2-40B4-BE49-F238E27FC236}">
                    <a16:creationId xmlns:a16="http://schemas.microsoft.com/office/drawing/2014/main" id="{365CB488-DA3E-4473-B01C-590BBA48D6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7864" y="1917701"/>
                <a:ext cx="92075" cy="77788"/>
              </a:xfrm>
              <a:custGeom>
                <a:avLst/>
                <a:gdLst>
                  <a:gd name="T0" fmla="*/ 100 w 120"/>
                  <a:gd name="T1" fmla="*/ 54 h 103"/>
                  <a:gd name="T2" fmla="*/ 67 w 120"/>
                  <a:gd name="T3" fmla="*/ 88 h 103"/>
                  <a:gd name="T4" fmla="*/ 60 w 120"/>
                  <a:gd name="T5" fmla="*/ 93 h 103"/>
                  <a:gd name="T6" fmla="*/ 53 w 120"/>
                  <a:gd name="T7" fmla="*/ 88 h 103"/>
                  <a:gd name="T8" fmla="*/ 20 w 120"/>
                  <a:gd name="T9" fmla="*/ 54 h 103"/>
                  <a:gd name="T10" fmla="*/ 26 w 120"/>
                  <a:gd name="T11" fmla="*/ 15 h 103"/>
                  <a:gd name="T12" fmla="*/ 38 w 120"/>
                  <a:gd name="T13" fmla="*/ 11 h 103"/>
                  <a:gd name="T14" fmla="*/ 44 w 120"/>
                  <a:gd name="T15" fmla="*/ 12 h 103"/>
                  <a:gd name="T16" fmla="*/ 55 w 120"/>
                  <a:gd name="T17" fmla="*/ 24 h 103"/>
                  <a:gd name="T18" fmla="*/ 60 w 120"/>
                  <a:gd name="T19" fmla="*/ 28 h 103"/>
                  <a:gd name="T20" fmla="*/ 64 w 120"/>
                  <a:gd name="T21" fmla="*/ 24 h 103"/>
                  <a:gd name="T22" fmla="*/ 76 w 120"/>
                  <a:gd name="T23" fmla="*/ 12 h 103"/>
                  <a:gd name="T24" fmla="*/ 94 w 120"/>
                  <a:gd name="T25" fmla="*/ 15 h 103"/>
                  <a:gd name="T26" fmla="*/ 100 w 120"/>
                  <a:gd name="T27" fmla="*/ 54 h 103"/>
                  <a:gd name="T28" fmla="*/ 99 w 120"/>
                  <a:gd name="T29" fmla="*/ 7 h 103"/>
                  <a:gd name="T30" fmla="*/ 73 w 120"/>
                  <a:gd name="T31" fmla="*/ 3 h 103"/>
                  <a:gd name="T32" fmla="*/ 60 w 120"/>
                  <a:gd name="T33" fmla="*/ 13 h 103"/>
                  <a:gd name="T34" fmla="*/ 47 w 120"/>
                  <a:gd name="T35" fmla="*/ 3 h 103"/>
                  <a:gd name="T36" fmla="*/ 21 w 120"/>
                  <a:gd name="T37" fmla="*/ 7 h 103"/>
                  <a:gd name="T38" fmla="*/ 11 w 120"/>
                  <a:gd name="T39" fmla="*/ 58 h 103"/>
                  <a:gd name="T40" fmla="*/ 48 w 120"/>
                  <a:gd name="T41" fmla="*/ 95 h 103"/>
                  <a:gd name="T42" fmla="*/ 57 w 120"/>
                  <a:gd name="T43" fmla="*/ 102 h 103"/>
                  <a:gd name="T44" fmla="*/ 60 w 120"/>
                  <a:gd name="T45" fmla="*/ 103 h 103"/>
                  <a:gd name="T46" fmla="*/ 63 w 120"/>
                  <a:gd name="T47" fmla="*/ 102 h 103"/>
                  <a:gd name="T48" fmla="*/ 72 w 120"/>
                  <a:gd name="T49" fmla="*/ 95 h 103"/>
                  <a:gd name="T50" fmla="*/ 109 w 120"/>
                  <a:gd name="T51" fmla="*/ 58 h 103"/>
                  <a:gd name="T52" fmla="*/ 99 w 120"/>
                  <a:gd name="T53" fmla="*/ 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0" h="103">
                    <a:moveTo>
                      <a:pt x="100" y="54"/>
                    </a:moveTo>
                    <a:cubicBezTo>
                      <a:pt x="92" y="68"/>
                      <a:pt x="79" y="78"/>
                      <a:pt x="67" y="88"/>
                    </a:cubicBezTo>
                    <a:cubicBezTo>
                      <a:pt x="64" y="89"/>
                      <a:pt x="62" y="91"/>
                      <a:pt x="60" y="93"/>
                    </a:cubicBezTo>
                    <a:cubicBezTo>
                      <a:pt x="58" y="91"/>
                      <a:pt x="56" y="89"/>
                      <a:pt x="53" y="88"/>
                    </a:cubicBezTo>
                    <a:cubicBezTo>
                      <a:pt x="41" y="78"/>
                      <a:pt x="27" y="68"/>
                      <a:pt x="20" y="54"/>
                    </a:cubicBezTo>
                    <a:cubicBezTo>
                      <a:pt x="11" y="37"/>
                      <a:pt x="16" y="21"/>
                      <a:pt x="26" y="15"/>
                    </a:cubicBezTo>
                    <a:cubicBezTo>
                      <a:pt x="29" y="12"/>
                      <a:pt x="33" y="11"/>
                      <a:pt x="38" y="11"/>
                    </a:cubicBezTo>
                    <a:cubicBezTo>
                      <a:pt x="40" y="11"/>
                      <a:pt x="42" y="12"/>
                      <a:pt x="44" y="12"/>
                    </a:cubicBezTo>
                    <a:cubicBezTo>
                      <a:pt x="48" y="14"/>
                      <a:pt x="53" y="17"/>
                      <a:pt x="55" y="24"/>
                    </a:cubicBezTo>
                    <a:cubicBezTo>
                      <a:pt x="56" y="26"/>
                      <a:pt x="58" y="28"/>
                      <a:pt x="60" y="28"/>
                    </a:cubicBezTo>
                    <a:cubicBezTo>
                      <a:pt x="62" y="28"/>
                      <a:pt x="64" y="26"/>
                      <a:pt x="64" y="24"/>
                    </a:cubicBezTo>
                    <a:cubicBezTo>
                      <a:pt x="67" y="17"/>
                      <a:pt x="72" y="14"/>
                      <a:pt x="76" y="12"/>
                    </a:cubicBezTo>
                    <a:cubicBezTo>
                      <a:pt x="82" y="10"/>
                      <a:pt x="89" y="11"/>
                      <a:pt x="94" y="15"/>
                    </a:cubicBezTo>
                    <a:cubicBezTo>
                      <a:pt x="104" y="21"/>
                      <a:pt x="109" y="37"/>
                      <a:pt x="100" y="54"/>
                    </a:cubicBezTo>
                    <a:close/>
                    <a:moveTo>
                      <a:pt x="99" y="7"/>
                    </a:moveTo>
                    <a:cubicBezTo>
                      <a:pt x="92" y="2"/>
                      <a:pt x="82" y="0"/>
                      <a:pt x="73" y="3"/>
                    </a:cubicBezTo>
                    <a:cubicBezTo>
                      <a:pt x="68" y="5"/>
                      <a:pt x="63" y="8"/>
                      <a:pt x="60" y="13"/>
                    </a:cubicBezTo>
                    <a:cubicBezTo>
                      <a:pt x="57" y="8"/>
                      <a:pt x="52" y="5"/>
                      <a:pt x="47" y="3"/>
                    </a:cubicBezTo>
                    <a:cubicBezTo>
                      <a:pt x="38" y="0"/>
                      <a:pt x="28" y="2"/>
                      <a:pt x="21" y="7"/>
                    </a:cubicBezTo>
                    <a:cubicBezTo>
                      <a:pt x="7" y="16"/>
                      <a:pt x="0" y="37"/>
                      <a:pt x="11" y="58"/>
                    </a:cubicBezTo>
                    <a:cubicBezTo>
                      <a:pt x="20" y="74"/>
                      <a:pt x="35" y="86"/>
                      <a:pt x="48" y="95"/>
                    </a:cubicBezTo>
                    <a:cubicBezTo>
                      <a:pt x="51" y="98"/>
                      <a:pt x="54" y="100"/>
                      <a:pt x="57" y="102"/>
                    </a:cubicBezTo>
                    <a:cubicBezTo>
                      <a:pt x="58" y="103"/>
                      <a:pt x="59" y="103"/>
                      <a:pt x="60" y="103"/>
                    </a:cubicBezTo>
                    <a:cubicBezTo>
                      <a:pt x="61" y="103"/>
                      <a:pt x="62" y="103"/>
                      <a:pt x="63" y="102"/>
                    </a:cubicBezTo>
                    <a:cubicBezTo>
                      <a:pt x="66" y="100"/>
                      <a:pt x="69" y="98"/>
                      <a:pt x="72" y="95"/>
                    </a:cubicBezTo>
                    <a:cubicBezTo>
                      <a:pt x="85" y="86"/>
                      <a:pt x="100" y="74"/>
                      <a:pt x="109" y="58"/>
                    </a:cubicBezTo>
                    <a:cubicBezTo>
                      <a:pt x="120" y="37"/>
                      <a:pt x="112" y="16"/>
                      <a:pt x="99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741" name="Analytics1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9DCF29A5-2BF7-43C5-BE3F-D730A84DA3EF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4512244" y="4465319"/>
              <a:ext cx="547864" cy="448698"/>
              <a:chOff x="7169151" y="725488"/>
              <a:chExt cx="885825" cy="725488"/>
            </a:xfrm>
            <a:solidFill>
              <a:srgbClr val="A5A5A5"/>
            </a:solidFill>
          </p:grpSpPr>
          <p:sp>
            <p:nvSpPr>
              <p:cNvPr id="742" name="Freeform 324">
                <a:extLst>
                  <a:ext uri="{FF2B5EF4-FFF2-40B4-BE49-F238E27FC236}">
                    <a16:creationId xmlns:a16="http://schemas.microsoft.com/office/drawing/2014/main" id="{BD7A8CB7-F5A3-4E92-8564-43918153AD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97788" y="901701"/>
                <a:ext cx="127000" cy="128588"/>
              </a:xfrm>
              <a:custGeom>
                <a:avLst/>
                <a:gdLst>
                  <a:gd name="T0" fmla="*/ 41 w 82"/>
                  <a:gd name="T1" fmla="*/ 29 h 82"/>
                  <a:gd name="T2" fmla="*/ 29 w 82"/>
                  <a:gd name="T3" fmla="*/ 41 h 82"/>
                  <a:gd name="T4" fmla="*/ 41 w 82"/>
                  <a:gd name="T5" fmla="*/ 53 h 82"/>
                  <a:gd name="T6" fmla="*/ 53 w 82"/>
                  <a:gd name="T7" fmla="*/ 41 h 82"/>
                  <a:gd name="T8" fmla="*/ 41 w 82"/>
                  <a:gd name="T9" fmla="*/ 29 h 82"/>
                  <a:gd name="T10" fmla="*/ 41 w 82"/>
                  <a:gd name="T11" fmla="*/ 82 h 82"/>
                  <a:gd name="T12" fmla="*/ 0 w 82"/>
                  <a:gd name="T13" fmla="*/ 41 h 82"/>
                  <a:gd name="T14" fmla="*/ 41 w 82"/>
                  <a:gd name="T15" fmla="*/ 0 h 82"/>
                  <a:gd name="T16" fmla="*/ 82 w 82"/>
                  <a:gd name="T17" fmla="*/ 41 h 82"/>
                  <a:gd name="T18" fmla="*/ 41 w 82"/>
                  <a:gd name="T19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2">
                    <a:moveTo>
                      <a:pt x="41" y="29"/>
                    </a:moveTo>
                    <a:cubicBezTo>
                      <a:pt x="34" y="29"/>
                      <a:pt x="29" y="35"/>
                      <a:pt x="29" y="41"/>
                    </a:cubicBezTo>
                    <a:cubicBezTo>
                      <a:pt x="29" y="48"/>
                      <a:pt x="34" y="53"/>
                      <a:pt x="41" y="53"/>
                    </a:cubicBezTo>
                    <a:cubicBezTo>
                      <a:pt x="48" y="53"/>
                      <a:pt x="53" y="48"/>
                      <a:pt x="53" y="41"/>
                    </a:cubicBezTo>
                    <a:cubicBezTo>
                      <a:pt x="53" y="35"/>
                      <a:pt x="48" y="29"/>
                      <a:pt x="41" y="29"/>
                    </a:cubicBezTo>
                    <a:close/>
                    <a:moveTo>
                      <a:pt x="41" y="82"/>
                    </a:moveTo>
                    <a:cubicBezTo>
                      <a:pt x="19" y="82"/>
                      <a:pt x="0" y="64"/>
                      <a:pt x="0" y="41"/>
                    </a:cubicBezTo>
                    <a:cubicBezTo>
                      <a:pt x="0" y="19"/>
                      <a:pt x="19" y="0"/>
                      <a:pt x="41" y="0"/>
                    </a:cubicBezTo>
                    <a:cubicBezTo>
                      <a:pt x="64" y="0"/>
                      <a:pt x="82" y="19"/>
                      <a:pt x="82" y="41"/>
                    </a:cubicBezTo>
                    <a:cubicBezTo>
                      <a:pt x="82" y="64"/>
                      <a:pt x="64" y="82"/>
                      <a:pt x="41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3" name="Freeform 325">
                <a:extLst>
                  <a:ext uri="{FF2B5EF4-FFF2-40B4-BE49-F238E27FC236}">
                    <a16:creationId xmlns:a16="http://schemas.microsoft.com/office/drawing/2014/main" id="{8A415457-E11C-485B-92A8-D00B0CC6F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6" y="725488"/>
                <a:ext cx="101600" cy="98425"/>
              </a:xfrm>
              <a:custGeom>
                <a:avLst/>
                <a:gdLst>
                  <a:gd name="T0" fmla="*/ 55 w 65"/>
                  <a:gd name="T1" fmla="*/ 57 h 63"/>
                  <a:gd name="T2" fmla="*/ 64 w 65"/>
                  <a:gd name="T3" fmla="*/ 6 h 63"/>
                  <a:gd name="T4" fmla="*/ 58 w 65"/>
                  <a:gd name="T5" fmla="*/ 0 h 63"/>
                  <a:gd name="T6" fmla="*/ 7 w 65"/>
                  <a:gd name="T7" fmla="*/ 1 h 63"/>
                  <a:gd name="T8" fmla="*/ 3 w 65"/>
                  <a:gd name="T9" fmla="*/ 10 h 63"/>
                  <a:gd name="T10" fmla="*/ 45 w 65"/>
                  <a:gd name="T11" fmla="*/ 60 h 63"/>
                  <a:gd name="T12" fmla="*/ 55 w 65"/>
                  <a:gd name="T13" fmla="*/ 5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63">
                    <a:moveTo>
                      <a:pt x="55" y="57"/>
                    </a:moveTo>
                    <a:lnTo>
                      <a:pt x="64" y="6"/>
                    </a:lnTo>
                    <a:cubicBezTo>
                      <a:pt x="65" y="3"/>
                      <a:pt x="62" y="0"/>
                      <a:pt x="58" y="0"/>
                    </a:cubicBezTo>
                    <a:lnTo>
                      <a:pt x="7" y="1"/>
                    </a:lnTo>
                    <a:cubicBezTo>
                      <a:pt x="2" y="1"/>
                      <a:pt x="0" y="6"/>
                      <a:pt x="3" y="10"/>
                    </a:cubicBezTo>
                    <a:lnTo>
                      <a:pt x="45" y="60"/>
                    </a:lnTo>
                    <a:cubicBezTo>
                      <a:pt x="48" y="63"/>
                      <a:pt x="54" y="62"/>
                      <a:pt x="55" y="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4" name="Freeform 326">
                <a:extLst>
                  <a:ext uri="{FF2B5EF4-FFF2-40B4-BE49-F238E27FC236}">
                    <a16:creationId xmlns:a16="http://schemas.microsoft.com/office/drawing/2014/main" id="{63C4D5CA-9B8B-4490-A182-6B95BDAE6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8751" y="738188"/>
                <a:ext cx="255588" cy="219075"/>
              </a:xfrm>
              <a:custGeom>
                <a:avLst/>
                <a:gdLst>
                  <a:gd name="T0" fmla="*/ 18 w 161"/>
                  <a:gd name="T1" fmla="*/ 138 h 138"/>
                  <a:gd name="T2" fmla="*/ 0 w 161"/>
                  <a:gd name="T3" fmla="*/ 116 h 138"/>
                  <a:gd name="T4" fmla="*/ 143 w 161"/>
                  <a:gd name="T5" fmla="*/ 0 h 138"/>
                  <a:gd name="T6" fmla="*/ 161 w 161"/>
                  <a:gd name="T7" fmla="*/ 22 h 138"/>
                  <a:gd name="T8" fmla="*/ 18 w 161"/>
                  <a:gd name="T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138">
                    <a:moveTo>
                      <a:pt x="18" y="138"/>
                    </a:moveTo>
                    <a:lnTo>
                      <a:pt x="0" y="116"/>
                    </a:lnTo>
                    <a:lnTo>
                      <a:pt x="143" y="0"/>
                    </a:lnTo>
                    <a:lnTo>
                      <a:pt x="161" y="22"/>
                    </a:lnTo>
                    <a:lnTo>
                      <a:pt x="18" y="1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5" name="Freeform 327">
                <a:extLst>
                  <a:ext uri="{FF2B5EF4-FFF2-40B4-BE49-F238E27FC236}">
                    <a16:creationId xmlns:a16="http://schemas.microsoft.com/office/drawing/2014/main" id="{8B93BB9D-161F-4FC3-9EEA-7ADC5AD19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7126" y="804863"/>
                <a:ext cx="257175" cy="163513"/>
              </a:xfrm>
              <a:custGeom>
                <a:avLst/>
                <a:gdLst>
                  <a:gd name="T0" fmla="*/ 150 w 162"/>
                  <a:gd name="T1" fmla="*/ 103 h 103"/>
                  <a:gd name="T2" fmla="*/ 0 w 162"/>
                  <a:gd name="T3" fmla="*/ 25 h 103"/>
                  <a:gd name="T4" fmla="*/ 13 w 162"/>
                  <a:gd name="T5" fmla="*/ 0 h 103"/>
                  <a:gd name="T6" fmla="*/ 162 w 162"/>
                  <a:gd name="T7" fmla="*/ 77 h 103"/>
                  <a:gd name="T8" fmla="*/ 150 w 162"/>
                  <a:gd name="T9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2" h="103">
                    <a:moveTo>
                      <a:pt x="150" y="103"/>
                    </a:moveTo>
                    <a:lnTo>
                      <a:pt x="0" y="25"/>
                    </a:lnTo>
                    <a:lnTo>
                      <a:pt x="13" y="0"/>
                    </a:lnTo>
                    <a:lnTo>
                      <a:pt x="162" y="77"/>
                    </a:lnTo>
                    <a:lnTo>
                      <a:pt x="150" y="10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6" name="Freeform 328">
                <a:extLst>
                  <a:ext uri="{FF2B5EF4-FFF2-40B4-BE49-F238E27FC236}">
                    <a16:creationId xmlns:a16="http://schemas.microsoft.com/office/drawing/2014/main" id="{B7396265-D8D1-4CB3-A6A7-38F2A9DDA3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86638" y="741363"/>
                <a:ext cx="128588" cy="128588"/>
              </a:xfrm>
              <a:custGeom>
                <a:avLst/>
                <a:gdLst>
                  <a:gd name="T0" fmla="*/ 41 w 82"/>
                  <a:gd name="T1" fmla="*/ 29 h 82"/>
                  <a:gd name="T2" fmla="*/ 29 w 82"/>
                  <a:gd name="T3" fmla="*/ 41 h 82"/>
                  <a:gd name="T4" fmla="*/ 41 w 82"/>
                  <a:gd name="T5" fmla="*/ 53 h 82"/>
                  <a:gd name="T6" fmla="*/ 53 w 82"/>
                  <a:gd name="T7" fmla="*/ 41 h 82"/>
                  <a:gd name="T8" fmla="*/ 41 w 82"/>
                  <a:gd name="T9" fmla="*/ 29 h 82"/>
                  <a:gd name="T10" fmla="*/ 41 w 82"/>
                  <a:gd name="T11" fmla="*/ 82 h 82"/>
                  <a:gd name="T12" fmla="*/ 0 w 82"/>
                  <a:gd name="T13" fmla="*/ 41 h 82"/>
                  <a:gd name="T14" fmla="*/ 41 w 82"/>
                  <a:gd name="T15" fmla="*/ 0 h 82"/>
                  <a:gd name="T16" fmla="*/ 82 w 82"/>
                  <a:gd name="T17" fmla="*/ 41 h 82"/>
                  <a:gd name="T18" fmla="*/ 41 w 82"/>
                  <a:gd name="T19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2">
                    <a:moveTo>
                      <a:pt x="41" y="29"/>
                    </a:moveTo>
                    <a:cubicBezTo>
                      <a:pt x="34" y="29"/>
                      <a:pt x="29" y="35"/>
                      <a:pt x="29" y="41"/>
                    </a:cubicBezTo>
                    <a:cubicBezTo>
                      <a:pt x="29" y="48"/>
                      <a:pt x="34" y="53"/>
                      <a:pt x="41" y="53"/>
                    </a:cubicBezTo>
                    <a:cubicBezTo>
                      <a:pt x="47" y="53"/>
                      <a:pt x="53" y="48"/>
                      <a:pt x="53" y="41"/>
                    </a:cubicBezTo>
                    <a:cubicBezTo>
                      <a:pt x="53" y="35"/>
                      <a:pt x="47" y="29"/>
                      <a:pt x="41" y="29"/>
                    </a:cubicBezTo>
                    <a:close/>
                    <a:moveTo>
                      <a:pt x="41" y="82"/>
                    </a:moveTo>
                    <a:cubicBezTo>
                      <a:pt x="18" y="82"/>
                      <a:pt x="0" y="64"/>
                      <a:pt x="0" y="41"/>
                    </a:cubicBezTo>
                    <a:cubicBezTo>
                      <a:pt x="0" y="19"/>
                      <a:pt x="18" y="0"/>
                      <a:pt x="41" y="0"/>
                    </a:cubicBezTo>
                    <a:cubicBezTo>
                      <a:pt x="63" y="0"/>
                      <a:pt x="82" y="19"/>
                      <a:pt x="82" y="41"/>
                    </a:cubicBezTo>
                    <a:cubicBezTo>
                      <a:pt x="82" y="64"/>
                      <a:pt x="63" y="82"/>
                      <a:pt x="41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7" name="Freeform 329">
                <a:extLst>
                  <a:ext uri="{FF2B5EF4-FFF2-40B4-BE49-F238E27FC236}">
                    <a16:creationId xmlns:a16="http://schemas.microsoft.com/office/drawing/2014/main" id="{27E87E0D-AF25-4B81-ABE2-CB8B3C95D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9638" y="815976"/>
                <a:ext cx="174625" cy="136525"/>
              </a:xfrm>
              <a:custGeom>
                <a:avLst/>
                <a:gdLst>
                  <a:gd name="T0" fmla="*/ 14 w 110"/>
                  <a:gd name="T1" fmla="*/ 86 h 86"/>
                  <a:gd name="T2" fmla="*/ 0 w 110"/>
                  <a:gd name="T3" fmla="*/ 62 h 86"/>
                  <a:gd name="T4" fmla="*/ 94 w 110"/>
                  <a:gd name="T5" fmla="*/ 0 h 86"/>
                  <a:gd name="T6" fmla="*/ 110 w 110"/>
                  <a:gd name="T7" fmla="*/ 24 h 86"/>
                  <a:gd name="T8" fmla="*/ 14 w 110"/>
                  <a:gd name="T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86">
                    <a:moveTo>
                      <a:pt x="14" y="86"/>
                    </a:moveTo>
                    <a:lnTo>
                      <a:pt x="0" y="62"/>
                    </a:lnTo>
                    <a:lnTo>
                      <a:pt x="94" y="0"/>
                    </a:lnTo>
                    <a:lnTo>
                      <a:pt x="110" y="24"/>
                    </a:lnTo>
                    <a:lnTo>
                      <a:pt x="14" y="8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8" name="Freeform 330">
                <a:extLst>
                  <a:ext uri="{FF2B5EF4-FFF2-40B4-BE49-F238E27FC236}">
                    <a16:creationId xmlns:a16="http://schemas.microsoft.com/office/drawing/2014/main" id="{363613DA-0150-4C4A-A076-4E01365D71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9151" y="893763"/>
                <a:ext cx="127000" cy="127000"/>
              </a:xfrm>
              <a:custGeom>
                <a:avLst/>
                <a:gdLst>
                  <a:gd name="T0" fmla="*/ 41 w 82"/>
                  <a:gd name="T1" fmla="*/ 28 h 81"/>
                  <a:gd name="T2" fmla="*/ 29 w 82"/>
                  <a:gd name="T3" fmla="*/ 40 h 81"/>
                  <a:gd name="T4" fmla="*/ 41 w 82"/>
                  <a:gd name="T5" fmla="*/ 52 h 81"/>
                  <a:gd name="T6" fmla="*/ 53 w 82"/>
                  <a:gd name="T7" fmla="*/ 40 h 81"/>
                  <a:gd name="T8" fmla="*/ 41 w 82"/>
                  <a:gd name="T9" fmla="*/ 28 h 81"/>
                  <a:gd name="T10" fmla="*/ 41 w 82"/>
                  <a:gd name="T11" fmla="*/ 81 h 81"/>
                  <a:gd name="T12" fmla="*/ 0 w 82"/>
                  <a:gd name="T13" fmla="*/ 40 h 81"/>
                  <a:gd name="T14" fmla="*/ 41 w 82"/>
                  <a:gd name="T15" fmla="*/ 0 h 81"/>
                  <a:gd name="T16" fmla="*/ 82 w 82"/>
                  <a:gd name="T17" fmla="*/ 40 h 81"/>
                  <a:gd name="T18" fmla="*/ 41 w 82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1">
                    <a:moveTo>
                      <a:pt x="41" y="28"/>
                    </a:moveTo>
                    <a:cubicBezTo>
                      <a:pt x="35" y="28"/>
                      <a:pt x="29" y="34"/>
                      <a:pt x="29" y="40"/>
                    </a:cubicBezTo>
                    <a:cubicBezTo>
                      <a:pt x="29" y="47"/>
                      <a:pt x="35" y="52"/>
                      <a:pt x="41" y="52"/>
                    </a:cubicBezTo>
                    <a:cubicBezTo>
                      <a:pt x="48" y="52"/>
                      <a:pt x="53" y="47"/>
                      <a:pt x="53" y="40"/>
                    </a:cubicBezTo>
                    <a:cubicBezTo>
                      <a:pt x="53" y="34"/>
                      <a:pt x="48" y="28"/>
                      <a:pt x="41" y="28"/>
                    </a:cubicBezTo>
                    <a:close/>
                    <a:moveTo>
                      <a:pt x="41" y="81"/>
                    </a:moveTo>
                    <a:cubicBezTo>
                      <a:pt x="19" y="81"/>
                      <a:pt x="0" y="63"/>
                      <a:pt x="0" y="40"/>
                    </a:cubicBezTo>
                    <a:cubicBezTo>
                      <a:pt x="0" y="18"/>
                      <a:pt x="19" y="0"/>
                      <a:pt x="41" y="0"/>
                    </a:cubicBezTo>
                    <a:cubicBezTo>
                      <a:pt x="64" y="0"/>
                      <a:pt x="82" y="18"/>
                      <a:pt x="82" y="40"/>
                    </a:cubicBezTo>
                    <a:cubicBezTo>
                      <a:pt x="82" y="63"/>
                      <a:pt x="64" y="81"/>
                      <a:pt x="41" y="8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49" name="Freeform 331">
                <a:extLst>
                  <a:ext uri="{FF2B5EF4-FFF2-40B4-BE49-F238E27FC236}">
                    <a16:creationId xmlns:a16="http://schemas.microsoft.com/office/drawing/2014/main" id="{D5BADE4D-9070-4D11-BE76-F5D0017643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78726" y="784226"/>
                <a:ext cx="363538" cy="347663"/>
              </a:xfrm>
              <a:custGeom>
                <a:avLst/>
                <a:gdLst>
                  <a:gd name="T0" fmla="*/ 117 w 233"/>
                  <a:gd name="T1" fmla="*/ 37 h 223"/>
                  <a:gd name="T2" fmla="*/ 61 w 233"/>
                  <a:gd name="T3" fmla="*/ 60 h 223"/>
                  <a:gd name="T4" fmla="*/ 61 w 233"/>
                  <a:gd name="T5" fmla="*/ 173 h 223"/>
                  <a:gd name="T6" fmla="*/ 173 w 233"/>
                  <a:gd name="T7" fmla="*/ 173 h 223"/>
                  <a:gd name="T8" fmla="*/ 173 w 233"/>
                  <a:gd name="T9" fmla="*/ 60 h 223"/>
                  <a:gd name="T10" fmla="*/ 117 w 233"/>
                  <a:gd name="T11" fmla="*/ 37 h 223"/>
                  <a:gd name="T12" fmla="*/ 117 w 233"/>
                  <a:gd name="T13" fmla="*/ 223 h 223"/>
                  <a:gd name="T14" fmla="*/ 42 w 233"/>
                  <a:gd name="T15" fmla="*/ 192 h 223"/>
                  <a:gd name="T16" fmla="*/ 42 w 233"/>
                  <a:gd name="T17" fmla="*/ 41 h 223"/>
                  <a:gd name="T18" fmla="*/ 192 w 233"/>
                  <a:gd name="T19" fmla="*/ 41 h 223"/>
                  <a:gd name="T20" fmla="*/ 192 w 233"/>
                  <a:gd name="T21" fmla="*/ 192 h 223"/>
                  <a:gd name="T22" fmla="*/ 117 w 233"/>
                  <a:gd name="T23" fmla="*/ 22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223">
                    <a:moveTo>
                      <a:pt x="117" y="37"/>
                    </a:moveTo>
                    <a:cubicBezTo>
                      <a:pt x="96" y="37"/>
                      <a:pt x="76" y="45"/>
                      <a:pt x="61" y="60"/>
                    </a:cubicBezTo>
                    <a:cubicBezTo>
                      <a:pt x="30" y="91"/>
                      <a:pt x="30" y="142"/>
                      <a:pt x="61" y="173"/>
                    </a:cubicBezTo>
                    <a:cubicBezTo>
                      <a:pt x="92" y="204"/>
                      <a:pt x="142" y="204"/>
                      <a:pt x="173" y="173"/>
                    </a:cubicBezTo>
                    <a:cubicBezTo>
                      <a:pt x="204" y="142"/>
                      <a:pt x="204" y="91"/>
                      <a:pt x="173" y="60"/>
                    </a:cubicBezTo>
                    <a:cubicBezTo>
                      <a:pt x="157" y="45"/>
                      <a:pt x="137" y="37"/>
                      <a:pt x="117" y="37"/>
                    </a:cubicBezTo>
                    <a:close/>
                    <a:moveTo>
                      <a:pt x="117" y="223"/>
                    </a:moveTo>
                    <a:cubicBezTo>
                      <a:pt x="90" y="223"/>
                      <a:pt x="62" y="213"/>
                      <a:pt x="42" y="192"/>
                    </a:cubicBezTo>
                    <a:cubicBezTo>
                      <a:pt x="0" y="150"/>
                      <a:pt x="0" y="83"/>
                      <a:pt x="42" y="41"/>
                    </a:cubicBezTo>
                    <a:cubicBezTo>
                      <a:pt x="83" y="0"/>
                      <a:pt x="150" y="0"/>
                      <a:pt x="192" y="41"/>
                    </a:cubicBezTo>
                    <a:cubicBezTo>
                      <a:pt x="233" y="83"/>
                      <a:pt x="233" y="150"/>
                      <a:pt x="192" y="192"/>
                    </a:cubicBezTo>
                    <a:cubicBezTo>
                      <a:pt x="171" y="213"/>
                      <a:pt x="144" y="223"/>
                      <a:pt x="117" y="22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0" name="Freeform 332">
                <a:extLst>
                  <a:ext uri="{FF2B5EF4-FFF2-40B4-BE49-F238E27FC236}">
                    <a16:creationId xmlns:a16="http://schemas.microsoft.com/office/drawing/2014/main" id="{7B9FFC86-00E6-499F-A640-4AB969796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0663" y="1046163"/>
                <a:ext cx="196850" cy="196850"/>
              </a:xfrm>
              <a:custGeom>
                <a:avLst/>
                <a:gdLst>
                  <a:gd name="T0" fmla="*/ 89 w 126"/>
                  <a:gd name="T1" fmla="*/ 118 h 126"/>
                  <a:gd name="T2" fmla="*/ 0 w 126"/>
                  <a:gd name="T3" fmla="*/ 29 h 126"/>
                  <a:gd name="T4" fmla="*/ 29 w 126"/>
                  <a:gd name="T5" fmla="*/ 0 h 126"/>
                  <a:gd name="T6" fmla="*/ 118 w 126"/>
                  <a:gd name="T7" fmla="*/ 89 h 126"/>
                  <a:gd name="T8" fmla="*/ 118 w 126"/>
                  <a:gd name="T9" fmla="*/ 118 h 126"/>
                  <a:gd name="T10" fmla="*/ 118 w 126"/>
                  <a:gd name="T11" fmla="*/ 118 h 126"/>
                  <a:gd name="T12" fmla="*/ 89 w 126"/>
                  <a:gd name="T13" fmla="*/ 1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26">
                    <a:moveTo>
                      <a:pt x="89" y="118"/>
                    </a:moveTo>
                    <a:lnTo>
                      <a:pt x="0" y="29"/>
                    </a:lnTo>
                    <a:lnTo>
                      <a:pt x="29" y="0"/>
                    </a:lnTo>
                    <a:lnTo>
                      <a:pt x="118" y="89"/>
                    </a:lnTo>
                    <a:cubicBezTo>
                      <a:pt x="126" y="97"/>
                      <a:pt x="126" y="110"/>
                      <a:pt x="118" y="118"/>
                    </a:cubicBezTo>
                    <a:lnTo>
                      <a:pt x="118" y="118"/>
                    </a:lnTo>
                    <a:cubicBezTo>
                      <a:pt x="110" y="126"/>
                      <a:pt x="97" y="126"/>
                      <a:pt x="89" y="1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1" name="Freeform 333">
                <a:extLst>
                  <a:ext uri="{FF2B5EF4-FFF2-40B4-BE49-F238E27FC236}">
                    <a16:creationId xmlns:a16="http://schemas.microsoft.com/office/drawing/2014/main" id="{351DBD79-D1D1-4F98-A3B2-B4F0DB552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5663" y="1408113"/>
                <a:ext cx="774700" cy="42863"/>
              </a:xfrm>
              <a:custGeom>
                <a:avLst/>
                <a:gdLst>
                  <a:gd name="T0" fmla="*/ 482 w 496"/>
                  <a:gd name="T1" fmla="*/ 27 h 27"/>
                  <a:gd name="T2" fmla="*/ 13 w 496"/>
                  <a:gd name="T3" fmla="*/ 27 h 27"/>
                  <a:gd name="T4" fmla="*/ 0 w 496"/>
                  <a:gd name="T5" fmla="*/ 13 h 27"/>
                  <a:gd name="T6" fmla="*/ 0 w 496"/>
                  <a:gd name="T7" fmla="*/ 13 h 27"/>
                  <a:gd name="T8" fmla="*/ 13 w 496"/>
                  <a:gd name="T9" fmla="*/ 0 h 27"/>
                  <a:gd name="T10" fmla="*/ 482 w 496"/>
                  <a:gd name="T11" fmla="*/ 0 h 27"/>
                  <a:gd name="T12" fmla="*/ 496 w 496"/>
                  <a:gd name="T13" fmla="*/ 13 h 27"/>
                  <a:gd name="T14" fmla="*/ 496 w 496"/>
                  <a:gd name="T15" fmla="*/ 13 h 27"/>
                  <a:gd name="T16" fmla="*/ 482 w 496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6" h="27">
                    <a:moveTo>
                      <a:pt x="482" y="27"/>
                    </a:moveTo>
                    <a:lnTo>
                      <a:pt x="13" y="27"/>
                    </a:lnTo>
                    <a:cubicBezTo>
                      <a:pt x="6" y="27"/>
                      <a:pt x="0" y="21"/>
                      <a:pt x="0" y="13"/>
                    </a:cubicBezTo>
                    <a:lnTo>
                      <a:pt x="0" y="13"/>
                    </a:lnTo>
                    <a:cubicBezTo>
                      <a:pt x="0" y="6"/>
                      <a:pt x="6" y="0"/>
                      <a:pt x="13" y="0"/>
                    </a:cubicBezTo>
                    <a:lnTo>
                      <a:pt x="482" y="0"/>
                    </a:lnTo>
                    <a:cubicBezTo>
                      <a:pt x="490" y="0"/>
                      <a:pt x="496" y="6"/>
                      <a:pt x="496" y="13"/>
                    </a:cubicBezTo>
                    <a:lnTo>
                      <a:pt x="496" y="13"/>
                    </a:lnTo>
                    <a:cubicBezTo>
                      <a:pt x="496" y="21"/>
                      <a:pt x="490" y="27"/>
                      <a:pt x="482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2" name="Freeform 334">
                <a:extLst>
                  <a:ext uri="{FF2B5EF4-FFF2-40B4-BE49-F238E27FC236}">
                    <a16:creationId xmlns:a16="http://schemas.microsoft.com/office/drawing/2014/main" id="{C6165D91-6744-42F3-AD19-B331324A4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1538" y="1066801"/>
                <a:ext cx="93663" cy="307975"/>
              </a:xfrm>
              <a:custGeom>
                <a:avLst/>
                <a:gdLst>
                  <a:gd name="T0" fmla="*/ 48 w 60"/>
                  <a:gd name="T1" fmla="*/ 0 h 198"/>
                  <a:gd name="T2" fmla="*/ 12 w 60"/>
                  <a:gd name="T3" fmla="*/ 0 h 198"/>
                  <a:gd name="T4" fmla="*/ 0 w 60"/>
                  <a:gd name="T5" fmla="*/ 12 h 198"/>
                  <a:gd name="T6" fmla="*/ 0 w 60"/>
                  <a:gd name="T7" fmla="*/ 187 h 198"/>
                  <a:gd name="T8" fmla="*/ 12 w 60"/>
                  <a:gd name="T9" fmla="*/ 198 h 198"/>
                  <a:gd name="T10" fmla="*/ 48 w 60"/>
                  <a:gd name="T11" fmla="*/ 198 h 198"/>
                  <a:gd name="T12" fmla="*/ 60 w 60"/>
                  <a:gd name="T13" fmla="*/ 187 h 198"/>
                  <a:gd name="T14" fmla="*/ 60 w 60"/>
                  <a:gd name="T15" fmla="*/ 12 h 198"/>
                  <a:gd name="T16" fmla="*/ 48 w 60"/>
                  <a:gd name="T17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198">
                    <a:moveTo>
                      <a:pt x="48" y="0"/>
                    </a:moveTo>
                    <a:lnTo>
                      <a:pt x="12" y="0"/>
                    </a:lnTo>
                    <a:cubicBezTo>
                      <a:pt x="5" y="0"/>
                      <a:pt x="0" y="6"/>
                      <a:pt x="0" y="12"/>
                    </a:cubicBezTo>
                    <a:lnTo>
                      <a:pt x="0" y="187"/>
                    </a:lnTo>
                    <a:cubicBezTo>
                      <a:pt x="0" y="193"/>
                      <a:pt x="5" y="198"/>
                      <a:pt x="12" y="198"/>
                    </a:cubicBezTo>
                    <a:lnTo>
                      <a:pt x="48" y="198"/>
                    </a:lnTo>
                    <a:cubicBezTo>
                      <a:pt x="55" y="198"/>
                      <a:pt x="60" y="193"/>
                      <a:pt x="60" y="187"/>
                    </a:cubicBezTo>
                    <a:lnTo>
                      <a:pt x="60" y="12"/>
                    </a:lnTo>
                    <a:cubicBezTo>
                      <a:pt x="60" y="6"/>
                      <a:pt x="55" y="0"/>
                      <a:pt x="4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3" name="Freeform 335">
                <a:extLst>
                  <a:ext uri="{FF2B5EF4-FFF2-40B4-BE49-F238E27FC236}">
                    <a16:creationId xmlns:a16="http://schemas.microsoft.com/office/drawing/2014/main" id="{ABE602BF-7CAD-44B3-8A9C-6762DBF42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1713" y="1009651"/>
                <a:ext cx="93663" cy="365125"/>
              </a:xfrm>
              <a:custGeom>
                <a:avLst/>
                <a:gdLst>
                  <a:gd name="T0" fmla="*/ 48 w 60"/>
                  <a:gd name="T1" fmla="*/ 0 h 234"/>
                  <a:gd name="T2" fmla="*/ 12 w 60"/>
                  <a:gd name="T3" fmla="*/ 0 h 234"/>
                  <a:gd name="T4" fmla="*/ 0 w 60"/>
                  <a:gd name="T5" fmla="*/ 12 h 234"/>
                  <a:gd name="T6" fmla="*/ 0 w 60"/>
                  <a:gd name="T7" fmla="*/ 223 h 234"/>
                  <a:gd name="T8" fmla="*/ 12 w 60"/>
                  <a:gd name="T9" fmla="*/ 234 h 234"/>
                  <a:gd name="T10" fmla="*/ 48 w 60"/>
                  <a:gd name="T11" fmla="*/ 234 h 234"/>
                  <a:gd name="T12" fmla="*/ 60 w 60"/>
                  <a:gd name="T13" fmla="*/ 223 h 234"/>
                  <a:gd name="T14" fmla="*/ 60 w 60"/>
                  <a:gd name="T15" fmla="*/ 12 h 234"/>
                  <a:gd name="T16" fmla="*/ 48 w 60"/>
                  <a:gd name="T17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234">
                    <a:moveTo>
                      <a:pt x="48" y="0"/>
                    </a:moveTo>
                    <a:lnTo>
                      <a:pt x="12" y="0"/>
                    </a:lnTo>
                    <a:cubicBezTo>
                      <a:pt x="5" y="0"/>
                      <a:pt x="0" y="6"/>
                      <a:pt x="0" y="12"/>
                    </a:cubicBezTo>
                    <a:lnTo>
                      <a:pt x="0" y="223"/>
                    </a:lnTo>
                    <a:cubicBezTo>
                      <a:pt x="0" y="229"/>
                      <a:pt x="5" y="234"/>
                      <a:pt x="12" y="234"/>
                    </a:cubicBezTo>
                    <a:lnTo>
                      <a:pt x="48" y="234"/>
                    </a:lnTo>
                    <a:cubicBezTo>
                      <a:pt x="54" y="234"/>
                      <a:pt x="60" y="229"/>
                      <a:pt x="60" y="223"/>
                    </a:cubicBezTo>
                    <a:lnTo>
                      <a:pt x="60" y="12"/>
                    </a:lnTo>
                    <a:cubicBezTo>
                      <a:pt x="60" y="6"/>
                      <a:pt x="54" y="0"/>
                      <a:pt x="4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4" name="Freeform 336">
                <a:extLst>
                  <a:ext uri="{FF2B5EF4-FFF2-40B4-BE49-F238E27FC236}">
                    <a16:creationId xmlns:a16="http://schemas.microsoft.com/office/drawing/2014/main" id="{42FAC8C7-130C-41EF-AD25-DE45D7AE5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0301" y="1066801"/>
                <a:ext cx="92075" cy="307975"/>
              </a:xfrm>
              <a:custGeom>
                <a:avLst/>
                <a:gdLst>
                  <a:gd name="T0" fmla="*/ 48 w 59"/>
                  <a:gd name="T1" fmla="*/ 0 h 198"/>
                  <a:gd name="T2" fmla="*/ 12 w 59"/>
                  <a:gd name="T3" fmla="*/ 0 h 198"/>
                  <a:gd name="T4" fmla="*/ 0 w 59"/>
                  <a:gd name="T5" fmla="*/ 12 h 198"/>
                  <a:gd name="T6" fmla="*/ 0 w 59"/>
                  <a:gd name="T7" fmla="*/ 187 h 198"/>
                  <a:gd name="T8" fmla="*/ 12 w 59"/>
                  <a:gd name="T9" fmla="*/ 198 h 198"/>
                  <a:gd name="T10" fmla="*/ 48 w 59"/>
                  <a:gd name="T11" fmla="*/ 198 h 198"/>
                  <a:gd name="T12" fmla="*/ 59 w 59"/>
                  <a:gd name="T13" fmla="*/ 187 h 198"/>
                  <a:gd name="T14" fmla="*/ 59 w 59"/>
                  <a:gd name="T15" fmla="*/ 12 h 198"/>
                  <a:gd name="T16" fmla="*/ 48 w 59"/>
                  <a:gd name="T17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198">
                    <a:moveTo>
                      <a:pt x="48" y="0"/>
                    </a:moveTo>
                    <a:lnTo>
                      <a:pt x="12" y="0"/>
                    </a:lnTo>
                    <a:cubicBezTo>
                      <a:pt x="5" y="0"/>
                      <a:pt x="0" y="6"/>
                      <a:pt x="0" y="12"/>
                    </a:cubicBezTo>
                    <a:lnTo>
                      <a:pt x="0" y="187"/>
                    </a:lnTo>
                    <a:cubicBezTo>
                      <a:pt x="0" y="193"/>
                      <a:pt x="5" y="198"/>
                      <a:pt x="12" y="198"/>
                    </a:cubicBezTo>
                    <a:lnTo>
                      <a:pt x="48" y="198"/>
                    </a:lnTo>
                    <a:cubicBezTo>
                      <a:pt x="54" y="198"/>
                      <a:pt x="59" y="193"/>
                      <a:pt x="59" y="187"/>
                    </a:cubicBezTo>
                    <a:lnTo>
                      <a:pt x="59" y="12"/>
                    </a:lnTo>
                    <a:cubicBezTo>
                      <a:pt x="59" y="6"/>
                      <a:pt x="54" y="0"/>
                      <a:pt x="4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5" name="Freeform 337">
                <a:extLst>
                  <a:ext uri="{FF2B5EF4-FFF2-40B4-BE49-F238E27FC236}">
                    <a16:creationId xmlns:a16="http://schemas.microsoft.com/office/drawing/2014/main" id="{8B14DDFE-C97F-455B-BFC4-3E8BC67ABF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0476" y="1168401"/>
                <a:ext cx="92075" cy="206375"/>
              </a:xfrm>
              <a:custGeom>
                <a:avLst/>
                <a:gdLst>
                  <a:gd name="T0" fmla="*/ 48 w 59"/>
                  <a:gd name="T1" fmla="*/ 0 h 133"/>
                  <a:gd name="T2" fmla="*/ 11 w 59"/>
                  <a:gd name="T3" fmla="*/ 0 h 133"/>
                  <a:gd name="T4" fmla="*/ 0 w 59"/>
                  <a:gd name="T5" fmla="*/ 11 h 133"/>
                  <a:gd name="T6" fmla="*/ 0 w 59"/>
                  <a:gd name="T7" fmla="*/ 122 h 133"/>
                  <a:gd name="T8" fmla="*/ 11 w 59"/>
                  <a:gd name="T9" fmla="*/ 133 h 133"/>
                  <a:gd name="T10" fmla="*/ 48 w 59"/>
                  <a:gd name="T11" fmla="*/ 133 h 133"/>
                  <a:gd name="T12" fmla="*/ 59 w 59"/>
                  <a:gd name="T13" fmla="*/ 122 h 133"/>
                  <a:gd name="T14" fmla="*/ 59 w 59"/>
                  <a:gd name="T15" fmla="*/ 11 h 133"/>
                  <a:gd name="T16" fmla="*/ 48 w 59"/>
                  <a:gd name="T17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133">
                    <a:moveTo>
                      <a:pt x="48" y="0"/>
                    </a:moveTo>
                    <a:lnTo>
                      <a:pt x="11" y="0"/>
                    </a:lnTo>
                    <a:cubicBezTo>
                      <a:pt x="5" y="0"/>
                      <a:pt x="0" y="5"/>
                      <a:pt x="0" y="11"/>
                    </a:cubicBezTo>
                    <a:lnTo>
                      <a:pt x="0" y="122"/>
                    </a:lnTo>
                    <a:cubicBezTo>
                      <a:pt x="0" y="128"/>
                      <a:pt x="5" y="133"/>
                      <a:pt x="11" y="133"/>
                    </a:cubicBezTo>
                    <a:lnTo>
                      <a:pt x="48" y="133"/>
                    </a:lnTo>
                    <a:cubicBezTo>
                      <a:pt x="54" y="133"/>
                      <a:pt x="59" y="128"/>
                      <a:pt x="59" y="122"/>
                    </a:cubicBezTo>
                    <a:lnTo>
                      <a:pt x="59" y="11"/>
                    </a:lnTo>
                    <a:cubicBezTo>
                      <a:pt x="59" y="5"/>
                      <a:pt x="54" y="0"/>
                      <a:pt x="4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6" name="Freeform 338">
                <a:extLst>
                  <a:ext uri="{FF2B5EF4-FFF2-40B4-BE49-F238E27FC236}">
                    <a16:creationId xmlns:a16="http://schemas.microsoft.com/office/drawing/2014/main" id="{4E197E17-6827-45FE-A806-A861B3816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9063" y="1168401"/>
                <a:ext cx="92075" cy="206375"/>
              </a:xfrm>
              <a:custGeom>
                <a:avLst/>
                <a:gdLst>
                  <a:gd name="T0" fmla="*/ 48 w 59"/>
                  <a:gd name="T1" fmla="*/ 0 h 133"/>
                  <a:gd name="T2" fmla="*/ 11 w 59"/>
                  <a:gd name="T3" fmla="*/ 0 h 133"/>
                  <a:gd name="T4" fmla="*/ 0 w 59"/>
                  <a:gd name="T5" fmla="*/ 11 h 133"/>
                  <a:gd name="T6" fmla="*/ 0 w 59"/>
                  <a:gd name="T7" fmla="*/ 122 h 133"/>
                  <a:gd name="T8" fmla="*/ 11 w 59"/>
                  <a:gd name="T9" fmla="*/ 133 h 133"/>
                  <a:gd name="T10" fmla="*/ 48 w 59"/>
                  <a:gd name="T11" fmla="*/ 133 h 133"/>
                  <a:gd name="T12" fmla="*/ 59 w 59"/>
                  <a:gd name="T13" fmla="*/ 122 h 133"/>
                  <a:gd name="T14" fmla="*/ 59 w 59"/>
                  <a:gd name="T15" fmla="*/ 11 h 133"/>
                  <a:gd name="T16" fmla="*/ 48 w 59"/>
                  <a:gd name="T17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133">
                    <a:moveTo>
                      <a:pt x="48" y="0"/>
                    </a:moveTo>
                    <a:lnTo>
                      <a:pt x="11" y="0"/>
                    </a:lnTo>
                    <a:cubicBezTo>
                      <a:pt x="5" y="0"/>
                      <a:pt x="0" y="5"/>
                      <a:pt x="0" y="11"/>
                    </a:cubicBezTo>
                    <a:lnTo>
                      <a:pt x="0" y="122"/>
                    </a:lnTo>
                    <a:cubicBezTo>
                      <a:pt x="0" y="128"/>
                      <a:pt x="5" y="133"/>
                      <a:pt x="11" y="133"/>
                    </a:cubicBezTo>
                    <a:lnTo>
                      <a:pt x="48" y="133"/>
                    </a:lnTo>
                    <a:cubicBezTo>
                      <a:pt x="54" y="133"/>
                      <a:pt x="59" y="128"/>
                      <a:pt x="59" y="122"/>
                    </a:cubicBezTo>
                    <a:lnTo>
                      <a:pt x="59" y="11"/>
                    </a:lnTo>
                    <a:cubicBezTo>
                      <a:pt x="59" y="5"/>
                      <a:pt x="54" y="0"/>
                      <a:pt x="4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57" name="Freeform 339">
                <a:extLst>
                  <a:ext uri="{FF2B5EF4-FFF2-40B4-BE49-F238E27FC236}">
                    <a16:creationId xmlns:a16="http://schemas.microsoft.com/office/drawing/2014/main" id="{959ED1E8-660C-49CF-AE0A-579E8D33B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9238" y="1249363"/>
                <a:ext cx="92075" cy="125413"/>
              </a:xfrm>
              <a:custGeom>
                <a:avLst/>
                <a:gdLst>
                  <a:gd name="T0" fmla="*/ 48 w 59"/>
                  <a:gd name="T1" fmla="*/ 0 h 81"/>
                  <a:gd name="T2" fmla="*/ 11 w 59"/>
                  <a:gd name="T3" fmla="*/ 0 h 81"/>
                  <a:gd name="T4" fmla="*/ 0 w 59"/>
                  <a:gd name="T5" fmla="*/ 11 h 81"/>
                  <a:gd name="T6" fmla="*/ 0 w 59"/>
                  <a:gd name="T7" fmla="*/ 70 h 81"/>
                  <a:gd name="T8" fmla="*/ 11 w 59"/>
                  <a:gd name="T9" fmla="*/ 81 h 81"/>
                  <a:gd name="T10" fmla="*/ 48 w 59"/>
                  <a:gd name="T11" fmla="*/ 81 h 81"/>
                  <a:gd name="T12" fmla="*/ 59 w 59"/>
                  <a:gd name="T13" fmla="*/ 70 h 81"/>
                  <a:gd name="T14" fmla="*/ 59 w 59"/>
                  <a:gd name="T15" fmla="*/ 11 h 81"/>
                  <a:gd name="T16" fmla="*/ 48 w 59"/>
                  <a:gd name="T1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81">
                    <a:moveTo>
                      <a:pt x="48" y="0"/>
                    </a:moveTo>
                    <a:lnTo>
                      <a:pt x="11" y="0"/>
                    </a:lnTo>
                    <a:cubicBezTo>
                      <a:pt x="5" y="0"/>
                      <a:pt x="0" y="5"/>
                      <a:pt x="0" y="11"/>
                    </a:cubicBezTo>
                    <a:lnTo>
                      <a:pt x="0" y="70"/>
                    </a:lnTo>
                    <a:cubicBezTo>
                      <a:pt x="0" y="76"/>
                      <a:pt x="5" y="81"/>
                      <a:pt x="11" y="81"/>
                    </a:cubicBezTo>
                    <a:lnTo>
                      <a:pt x="48" y="81"/>
                    </a:lnTo>
                    <a:cubicBezTo>
                      <a:pt x="54" y="81"/>
                      <a:pt x="59" y="76"/>
                      <a:pt x="59" y="70"/>
                    </a:cubicBezTo>
                    <a:lnTo>
                      <a:pt x="59" y="11"/>
                    </a:lnTo>
                    <a:cubicBezTo>
                      <a:pt x="59" y="5"/>
                      <a:pt x="54" y="0"/>
                      <a:pt x="4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58" name="Cryptography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B14D014-3D45-4DA3-95FB-4BDF536BD5F0}"/>
                </a:ext>
              </a:extLst>
            </p:cNvPr>
            <p:cNvSpPr>
              <a:spLocks noChangeAspect="1"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5105588" y="2824887"/>
              <a:ext cx="231449" cy="370825"/>
            </a:xfrm>
            <a:custGeom>
              <a:avLst/>
              <a:gdLst>
                <a:gd name="T0" fmla="*/ 1949 w 2628"/>
                <a:gd name="T1" fmla="*/ 2761 h 4209"/>
                <a:gd name="T2" fmla="*/ 1969 w 2628"/>
                <a:gd name="T3" fmla="*/ 2748 h 4209"/>
                <a:gd name="T4" fmla="*/ 1989 w 2628"/>
                <a:gd name="T5" fmla="*/ 2738 h 4209"/>
                <a:gd name="T6" fmla="*/ 1999 w 2628"/>
                <a:gd name="T7" fmla="*/ 2734 h 4209"/>
                <a:gd name="T8" fmla="*/ 2009 w 2628"/>
                <a:gd name="T9" fmla="*/ 2731 h 4209"/>
                <a:gd name="T10" fmla="*/ 2021 w 2628"/>
                <a:gd name="T11" fmla="*/ 2728 h 4209"/>
                <a:gd name="T12" fmla="*/ 2030 w 2628"/>
                <a:gd name="T13" fmla="*/ 2727 h 4209"/>
                <a:gd name="T14" fmla="*/ 2041 w 2628"/>
                <a:gd name="T15" fmla="*/ 2726 h 4209"/>
                <a:gd name="T16" fmla="*/ 2054 w 2628"/>
                <a:gd name="T17" fmla="*/ 2725 h 4209"/>
                <a:gd name="T18" fmla="*/ 2045 w 2628"/>
                <a:gd name="T19" fmla="*/ 3066 h 4209"/>
                <a:gd name="T20" fmla="*/ 2034 w 2628"/>
                <a:gd name="T21" fmla="*/ 3066 h 4209"/>
                <a:gd name="T22" fmla="*/ 2025 w 2628"/>
                <a:gd name="T23" fmla="*/ 3064 h 4209"/>
                <a:gd name="T24" fmla="*/ 2015 w 2628"/>
                <a:gd name="T25" fmla="*/ 3062 h 4209"/>
                <a:gd name="T26" fmla="*/ 2003 w 2628"/>
                <a:gd name="T27" fmla="*/ 3059 h 4209"/>
                <a:gd name="T28" fmla="*/ 1994 w 2628"/>
                <a:gd name="T29" fmla="*/ 3056 h 4209"/>
                <a:gd name="T30" fmla="*/ 1969 w 2628"/>
                <a:gd name="T31" fmla="*/ 3044 h 4209"/>
                <a:gd name="T32" fmla="*/ 1949 w 2628"/>
                <a:gd name="T33" fmla="*/ 3031 h 4209"/>
                <a:gd name="T34" fmla="*/ 1377 w 2628"/>
                <a:gd name="T35" fmla="*/ 3633 h 4209"/>
                <a:gd name="T36" fmla="*/ 1943 w 2628"/>
                <a:gd name="T37" fmla="*/ 3482 h 4209"/>
                <a:gd name="T38" fmla="*/ 1966 w 2628"/>
                <a:gd name="T39" fmla="*/ 3466 h 4209"/>
                <a:gd name="T40" fmla="*/ 1975 w 2628"/>
                <a:gd name="T41" fmla="*/ 3460 h 4209"/>
                <a:gd name="T42" fmla="*/ 1996 w 2628"/>
                <a:gd name="T43" fmla="*/ 3451 h 4209"/>
                <a:gd name="T44" fmla="*/ 2005 w 2628"/>
                <a:gd name="T45" fmla="*/ 3448 h 4209"/>
                <a:gd name="T46" fmla="*/ 2017 w 2628"/>
                <a:gd name="T47" fmla="*/ 3445 h 4209"/>
                <a:gd name="T48" fmla="*/ 2027 w 2628"/>
                <a:gd name="T49" fmla="*/ 3443 h 4209"/>
                <a:gd name="T50" fmla="*/ 2036 w 2628"/>
                <a:gd name="T51" fmla="*/ 3442 h 4209"/>
                <a:gd name="T52" fmla="*/ 2047 w 2628"/>
                <a:gd name="T53" fmla="*/ 3441 h 4209"/>
                <a:gd name="T54" fmla="*/ 2052 w 2628"/>
                <a:gd name="T55" fmla="*/ 3783 h 4209"/>
                <a:gd name="T56" fmla="*/ 2038 w 2628"/>
                <a:gd name="T57" fmla="*/ 3782 h 4209"/>
                <a:gd name="T58" fmla="*/ 2029 w 2628"/>
                <a:gd name="T59" fmla="*/ 3781 h 4209"/>
                <a:gd name="T60" fmla="*/ 2019 w 2628"/>
                <a:gd name="T61" fmla="*/ 3779 h 4209"/>
                <a:gd name="T62" fmla="*/ 2007 w 2628"/>
                <a:gd name="T63" fmla="*/ 3776 h 4209"/>
                <a:gd name="T64" fmla="*/ 1997 w 2628"/>
                <a:gd name="T65" fmla="*/ 3773 h 4209"/>
                <a:gd name="T66" fmla="*/ 1987 w 2628"/>
                <a:gd name="T67" fmla="*/ 3769 h 4209"/>
                <a:gd name="T68" fmla="*/ 1964 w 2628"/>
                <a:gd name="T69" fmla="*/ 3757 h 4209"/>
                <a:gd name="T70" fmla="*/ 1886 w 2628"/>
                <a:gd name="T71" fmla="*/ 3642 h 4209"/>
                <a:gd name="T72" fmla="*/ 1967 w 2628"/>
                <a:gd name="T73" fmla="*/ 2033 h 4209"/>
                <a:gd name="T74" fmla="*/ 1945 w 2628"/>
                <a:gd name="T75" fmla="*/ 2049 h 4209"/>
                <a:gd name="T76" fmla="*/ 0 w 2628"/>
                <a:gd name="T77" fmla="*/ 2498 h 4209"/>
                <a:gd name="T78" fmla="*/ 1945 w 2628"/>
                <a:gd name="T79" fmla="*/ 2312 h 4209"/>
                <a:gd name="T80" fmla="*/ 1969 w 2628"/>
                <a:gd name="T81" fmla="*/ 2328 h 4209"/>
                <a:gd name="T82" fmla="*/ 1993 w 2628"/>
                <a:gd name="T83" fmla="*/ 2340 h 4209"/>
                <a:gd name="T84" fmla="*/ 2003 w 2628"/>
                <a:gd name="T85" fmla="*/ 2343 h 4209"/>
                <a:gd name="T86" fmla="*/ 2014 w 2628"/>
                <a:gd name="T87" fmla="*/ 2346 h 4209"/>
                <a:gd name="T88" fmla="*/ 2024 w 2628"/>
                <a:gd name="T89" fmla="*/ 2348 h 4209"/>
                <a:gd name="T90" fmla="*/ 2034 w 2628"/>
                <a:gd name="T91" fmla="*/ 2350 h 4209"/>
                <a:gd name="T92" fmla="*/ 2044 w 2628"/>
                <a:gd name="T93" fmla="*/ 2351 h 4209"/>
                <a:gd name="T94" fmla="*/ 2175 w 2628"/>
                <a:gd name="T95" fmla="*/ 2059 h 4209"/>
                <a:gd name="T96" fmla="*/ 2042 w 2628"/>
                <a:gd name="T97" fmla="*/ 2010 h 4209"/>
                <a:gd name="T98" fmla="*/ 2032 w 2628"/>
                <a:gd name="T99" fmla="*/ 2011 h 4209"/>
                <a:gd name="T100" fmla="*/ 2023 w 2628"/>
                <a:gd name="T101" fmla="*/ 2012 h 4209"/>
                <a:gd name="T102" fmla="*/ 2010 w 2628"/>
                <a:gd name="T103" fmla="*/ 2015 h 4209"/>
                <a:gd name="T104" fmla="*/ 2001 w 2628"/>
                <a:gd name="T105" fmla="*/ 2018 h 4209"/>
                <a:gd name="T106" fmla="*/ 1992 w 2628"/>
                <a:gd name="T107" fmla="*/ 2021 h 4209"/>
                <a:gd name="T108" fmla="*/ 1956 w 2628"/>
                <a:gd name="T109" fmla="*/ 267 h 4209"/>
                <a:gd name="T110" fmla="*/ 700 w 2628"/>
                <a:gd name="T111" fmla="*/ 1450 h 4209"/>
                <a:gd name="T112" fmla="*/ 1344 w 2628"/>
                <a:gd name="T113" fmla="*/ 2050 h 4209"/>
                <a:gd name="T114" fmla="*/ 1839 w 2628"/>
                <a:gd name="T115" fmla="*/ 2395 h 4209"/>
                <a:gd name="T116" fmla="*/ 1779 w 2628"/>
                <a:gd name="T117" fmla="*/ 2766 h 4209"/>
                <a:gd name="T118" fmla="*/ 1 w 2628"/>
                <a:gd name="T119" fmla="*/ 3194 h 4209"/>
                <a:gd name="T120" fmla="*/ 2269 w 2628"/>
                <a:gd name="T121" fmla="*/ 3397 h 4209"/>
                <a:gd name="T122" fmla="*/ 1306 w 2628"/>
                <a:gd name="T123" fmla="*/ 3704 h 4209"/>
                <a:gd name="T124" fmla="*/ 2511 w 2628"/>
                <a:gd name="T125" fmla="*/ 1700 h 4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28" h="4209">
                  <a:moveTo>
                    <a:pt x="1886" y="2926"/>
                  </a:moveTo>
                  <a:lnTo>
                    <a:pt x="0" y="2926"/>
                  </a:lnTo>
                  <a:lnTo>
                    <a:pt x="0" y="2866"/>
                  </a:lnTo>
                  <a:lnTo>
                    <a:pt x="1886" y="2866"/>
                  </a:lnTo>
                  <a:cubicBezTo>
                    <a:pt x="1892" y="2831"/>
                    <a:pt x="1909" y="2799"/>
                    <a:pt x="1933" y="2775"/>
                  </a:cubicBezTo>
                  <a:cubicBezTo>
                    <a:pt x="1936" y="2772"/>
                    <a:pt x="1940" y="2769"/>
                    <a:pt x="1943" y="2766"/>
                  </a:cubicBezTo>
                  <a:lnTo>
                    <a:pt x="1944" y="2766"/>
                  </a:lnTo>
                  <a:lnTo>
                    <a:pt x="1945" y="2765"/>
                  </a:lnTo>
                  <a:lnTo>
                    <a:pt x="1945" y="2765"/>
                  </a:lnTo>
                  <a:cubicBezTo>
                    <a:pt x="1946" y="2764"/>
                    <a:pt x="1947" y="2762"/>
                    <a:pt x="1949" y="2761"/>
                  </a:cubicBezTo>
                  <a:lnTo>
                    <a:pt x="1950" y="2760"/>
                  </a:lnTo>
                  <a:lnTo>
                    <a:pt x="1950" y="2760"/>
                  </a:lnTo>
                  <a:lnTo>
                    <a:pt x="1951" y="2760"/>
                  </a:lnTo>
                  <a:cubicBezTo>
                    <a:pt x="1955" y="2757"/>
                    <a:pt x="1959" y="2753"/>
                    <a:pt x="1964" y="2751"/>
                  </a:cubicBezTo>
                  <a:lnTo>
                    <a:pt x="1965" y="2750"/>
                  </a:lnTo>
                  <a:lnTo>
                    <a:pt x="1966" y="2750"/>
                  </a:lnTo>
                  <a:lnTo>
                    <a:pt x="1967" y="2749"/>
                  </a:lnTo>
                  <a:lnTo>
                    <a:pt x="1967" y="2749"/>
                  </a:lnTo>
                  <a:lnTo>
                    <a:pt x="1969" y="2748"/>
                  </a:lnTo>
                  <a:lnTo>
                    <a:pt x="1969" y="2748"/>
                  </a:lnTo>
                  <a:lnTo>
                    <a:pt x="1970" y="2747"/>
                  </a:lnTo>
                  <a:lnTo>
                    <a:pt x="1972" y="2746"/>
                  </a:lnTo>
                  <a:lnTo>
                    <a:pt x="1972" y="2746"/>
                  </a:lnTo>
                  <a:lnTo>
                    <a:pt x="1974" y="2745"/>
                  </a:lnTo>
                  <a:lnTo>
                    <a:pt x="1975" y="2744"/>
                  </a:lnTo>
                  <a:lnTo>
                    <a:pt x="1975" y="2744"/>
                  </a:lnTo>
                  <a:cubicBezTo>
                    <a:pt x="1979" y="2742"/>
                    <a:pt x="1983" y="2741"/>
                    <a:pt x="1986" y="2739"/>
                  </a:cubicBezTo>
                  <a:lnTo>
                    <a:pt x="1987" y="2739"/>
                  </a:lnTo>
                  <a:lnTo>
                    <a:pt x="1987" y="2739"/>
                  </a:lnTo>
                  <a:lnTo>
                    <a:pt x="1989" y="2738"/>
                  </a:lnTo>
                  <a:cubicBezTo>
                    <a:pt x="1990" y="2738"/>
                    <a:pt x="1991" y="2737"/>
                    <a:pt x="1992" y="2737"/>
                  </a:cubicBezTo>
                  <a:lnTo>
                    <a:pt x="1992" y="2737"/>
                  </a:lnTo>
                  <a:lnTo>
                    <a:pt x="1993" y="2736"/>
                  </a:lnTo>
                  <a:lnTo>
                    <a:pt x="1994" y="2736"/>
                  </a:lnTo>
                  <a:lnTo>
                    <a:pt x="1994" y="2736"/>
                  </a:lnTo>
                  <a:lnTo>
                    <a:pt x="1996" y="2735"/>
                  </a:lnTo>
                  <a:lnTo>
                    <a:pt x="1997" y="2735"/>
                  </a:lnTo>
                  <a:lnTo>
                    <a:pt x="1997" y="2735"/>
                  </a:lnTo>
                  <a:lnTo>
                    <a:pt x="1999" y="2734"/>
                  </a:lnTo>
                  <a:lnTo>
                    <a:pt x="1999" y="2734"/>
                  </a:lnTo>
                  <a:lnTo>
                    <a:pt x="2001" y="2734"/>
                  </a:lnTo>
                  <a:lnTo>
                    <a:pt x="2001" y="2733"/>
                  </a:lnTo>
                  <a:lnTo>
                    <a:pt x="2003" y="2733"/>
                  </a:lnTo>
                  <a:lnTo>
                    <a:pt x="2003" y="2733"/>
                  </a:lnTo>
                  <a:lnTo>
                    <a:pt x="2005" y="2732"/>
                  </a:lnTo>
                  <a:lnTo>
                    <a:pt x="2005" y="2732"/>
                  </a:lnTo>
                  <a:lnTo>
                    <a:pt x="2006" y="2732"/>
                  </a:lnTo>
                  <a:lnTo>
                    <a:pt x="2007" y="2732"/>
                  </a:lnTo>
                  <a:lnTo>
                    <a:pt x="2008" y="2731"/>
                  </a:lnTo>
                  <a:lnTo>
                    <a:pt x="2009" y="2731"/>
                  </a:lnTo>
                  <a:lnTo>
                    <a:pt x="2010" y="2731"/>
                  </a:lnTo>
                  <a:lnTo>
                    <a:pt x="2010" y="2731"/>
                  </a:lnTo>
                  <a:lnTo>
                    <a:pt x="2014" y="2730"/>
                  </a:lnTo>
                  <a:lnTo>
                    <a:pt x="2015" y="2730"/>
                  </a:lnTo>
                  <a:lnTo>
                    <a:pt x="2015" y="2730"/>
                  </a:lnTo>
                  <a:lnTo>
                    <a:pt x="2017" y="2729"/>
                  </a:lnTo>
                  <a:lnTo>
                    <a:pt x="2017" y="2729"/>
                  </a:lnTo>
                  <a:lnTo>
                    <a:pt x="2019" y="2729"/>
                  </a:lnTo>
                  <a:lnTo>
                    <a:pt x="2021" y="2728"/>
                  </a:lnTo>
                  <a:lnTo>
                    <a:pt x="2021" y="2728"/>
                  </a:lnTo>
                  <a:lnTo>
                    <a:pt x="2023" y="2728"/>
                  </a:lnTo>
                  <a:lnTo>
                    <a:pt x="2024" y="2728"/>
                  </a:lnTo>
                  <a:lnTo>
                    <a:pt x="2024" y="2728"/>
                  </a:lnTo>
                  <a:lnTo>
                    <a:pt x="2025" y="2728"/>
                  </a:lnTo>
                  <a:lnTo>
                    <a:pt x="2026" y="2727"/>
                  </a:lnTo>
                  <a:lnTo>
                    <a:pt x="2027" y="2727"/>
                  </a:lnTo>
                  <a:lnTo>
                    <a:pt x="2028" y="2727"/>
                  </a:lnTo>
                  <a:lnTo>
                    <a:pt x="2029" y="2727"/>
                  </a:lnTo>
                  <a:lnTo>
                    <a:pt x="2030" y="2727"/>
                  </a:lnTo>
                  <a:lnTo>
                    <a:pt x="2030" y="2727"/>
                  </a:lnTo>
                  <a:lnTo>
                    <a:pt x="2032" y="2727"/>
                  </a:lnTo>
                  <a:lnTo>
                    <a:pt x="2032" y="2727"/>
                  </a:lnTo>
                  <a:lnTo>
                    <a:pt x="2034" y="2726"/>
                  </a:lnTo>
                  <a:lnTo>
                    <a:pt x="2034" y="2726"/>
                  </a:lnTo>
                  <a:lnTo>
                    <a:pt x="2036" y="2726"/>
                  </a:lnTo>
                  <a:lnTo>
                    <a:pt x="2036" y="2726"/>
                  </a:lnTo>
                  <a:lnTo>
                    <a:pt x="2038" y="2726"/>
                  </a:lnTo>
                  <a:lnTo>
                    <a:pt x="2038" y="2726"/>
                  </a:lnTo>
                  <a:lnTo>
                    <a:pt x="2040" y="2726"/>
                  </a:lnTo>
                  <a:lnTo>
                    <a:pt x="2041" y="2726"/>
                  </a:lnTo>
                  <a:lnTo>
                    <a:pt x="2042" y="2726"/>
                  </a:lnTo>
                  <a:lnTo>
                    <a:pt x="2043" y="2726"/>
                  </a:lnTo>
                  <a:lnTo>
                    <a:pt x="2044" y="2725"/>
                  </a:lnTo>
                  <a:lnTo>
                    <a:pt x="2045" y="2725"/>
                  </a:lnTo>
                  <a:lnTo>
                    <a:pt x="2046" y="2725"/>
                  </a:lnTo>
                  <a:lnTo>
                    <a:pt x="2047" y="2725"/>
                  </a:lnTo>
                  <a:lnTo>
                    <a:pt x="2047" y="2725"/>
                  </a:lnTo>
                  <a:cubicBezTo>
                    <a:pt x="2049" y="2725"/>
                    <a:pt x="2050" y="2725"/>
                    <a:pt x="2052" y="2725"/>
                  </a:cubicBezTo>
                  <a:lnTo>
                    <a:pt x="2052" y="2725"/>
                  </a:lnTo>
                  <a:lnTo>
                    <a:pt x="2054" y="2725"/>
                  </a:lnTo>
                  <a:cubicBezTo>
                    <a:pt x="2101" y="2725"/>
                    <a:pt x="2144" y="2744"/>
                    <a:pt x="2175" y="2775"/>
                  </a:cubicBezTo>
                  <a:cubicBezTo>
                    <a:pt x="2205" y="2806"/>
                    <a:pt x="2225" y="2849"/>
                    <a:pt x="2225" y="2896"/>
                  </a:cubicBezTo>
                  <a:cubicBezTo>
                    <a:pt x="2225" y="2943"/>
                    <a:pt x="2205" y="2986"/>
                    <a:pt x="2175" y="3017"/>
                  </a:cubicBezTo>
                  <a:cubicBezTo>
                    <a:pt x="2144" y="3048"/>
                    <a:pt x="2101" y="3067"/>
                    <a:pt x="2054" y="3067"/>
                  </a:cubicBezTo>
                  <a:lnTo>
                    <a:pt x="2052" y="3067"/>
                  </a:lnTo>
                  <a:lnTo>
                    <a:pt x="2052" y="3067"/>
                  </a:lnTo>
                  <a:lnTo>
                    <a:pt x="2047" y="3067"/>
                  </a:lnTo>
                  <a:lnTo>
                    <a:pt x="2047" y="3067"/>
                  </a:lnTo>
                  <a:lnTo>
                    <a:pt x="2046" y="3067"/>
                  </a:lnTo>
                  <a:lnTo>
                    <a:pt x="2045" y="3066"/>
                  </a:lnTo>
                  <a:lnTo>
                    <a:pt x="2044" y="3066"/>
                  </a:lnTo>
                  <a:lnTo>
                    <a:pt x="2043" y="3066"/>
                  </a:lnTo>
                  <a:lnTo>
                    <a:pt x="2042" y="3066"/>
                  </a:lnTo>
                  <a:lnTo>
                    <a:pt x="2041" y="3066"/>
                  </a:lnTo>
                  <a:lnTo>
                    <a:pt x="2040" y="3066"/>
                  </a:lnTo>
                  <a:lnTo>
                    <a:pt x="2038" y="3066"/>
                  </a:lnTo>
                  <a:lnTo>
                    <a:pt x="2038" y="3066"/>
                  </a:lnTo>
                  <a:lnTo>
                    <a:pt x="2036" y="3066"/>
                  </a:lnTo>
                  <a:lnTo>
                    <a:pt x="2036" y="3066"/>
                  </a:lnTo>
                  <a:lnTo>
                    <a:pt x="2034" y="3066"/>
                  </a:lnTo>
                  <a:lnTo>
                    <a:pt x="2034" y="3066"/>
                  </a:lnTo>
                  <a:lnTo>
                    <a:pt x="2032" y="3065"/>
                  </a:lnTo>
                  <a:lnTo>
                    <a:pt x="2032" y="3065"/>
                  </a:lnTo>
                  <a:lnTo>
                    <a:pt x="2030" y="3065"/>
                  </a:lnTo>
                  <a:lnTo>
                    <a:pt x="2030" y="3065"/>
                  </a:lnTo>
                  <a:lnTo>
                    <a:pt x="2029" y="3065"/>
                  </a:lnTo>
                  <a:lnTo>
                    <a:pt x="2028" y="3065"/>
                  </a:lnTo>
                  <a:lnTo>
                    <a:pt x="2027" y="3065"/>
                  </a:lnTo>
                  <a:lnTo>
                    <a:pt x="2026" y="3064"/>
                  </a:lnTo>
                  <a:lnTo>
                    <a:pt x="2025" y="3064"/>
                  </a:lnTo>
                  <a:lnTo>
                    <a:pt x="2024" y="3064"/>
                  </a:lnTo>
                  <a:lnTo>
                    <a:pt x="2024" y="3064"/>
                  </a:lnTo>
                  <a:lnTo>
                    <a:pt x="2023" y="3064"/>
                  </a:lnTo>
                  <a:lnTo>
                    <a:pt x="2021" y="3064"/>
                  </a:lnTo>
                  <a:lnTo>
                    <a:pt x="2021" y="3064"/>
                  </a:lnTo>
                  <a:lnTo>
                    <a:pt x="2019" y="3063"/>
                  </a:lnTo>
                  <a:lnTo>
                    <a:pt x="2017" y="3063"/>
                  </a:lnTo>
                  <a:lnTo>
                    <a:pt x="2017" y="3063"/>
                  </a:lnTo>
                  <a:lnTo>
                    <a:pt x="2015" y="3062"/>
                  </a:lnTo>
                  <a:lnTo>
                    <a:pt x="2015" y="3062"/>
                  </a:lnTo>
                  <a:lnTo>
                    <a:pt x="2014" y="3062"/>
                  </a:lnTo>
                  <a:lnTo>
                    <a:pt x="2010" y="3061"/>
                  </a:lnTo>
                  <a:lnTo>
                    <a:pt x="2010" y="3061"/>
                  </a:lnTo>
                  <a:lnTo>
                    <a:pt x="2009" y="3061"/>
                  </a:lnTo>
                  <a:lnTo>
                    <a:pt x="2008" y="3061"/>
                  </a:lnTo>
                  <a:lnTo>
                    <a:pt x="2007" y="3060"/>
                  </a:lnTo>
                  <a:lnTo>
                    <a:pt x="2006" y="3060"/>
                  </a:lnTo>
                  <a:lnTo>
                    <a:pt x="2005" y="3060"/>
                  </a:lnTo>
                  <a:lnTo>
                    <a:pt x="2005" y="3060"/>
                  </a:lnTo>
                  <a:lnTo>
                    <a:pt x="2003" y="3059"/>
                  </a:lnTo>
                  <a:lnTo>
                    <a:pt x="2003" y="3059"/>
                  </a:lnTo>
                  <a:lnTo>
                    <a:pt x="2001" y="3058"/>
                  </a:lnTo>
                  <a:lnTo>
                    <a:pt x="2001" y="3058"/>
                  </a:lnTo>
                  <a:lnTo>
                    <a:pt x="1999" y="3058"/>
                  </a:lnTo>
                  <a:lnTo>
                    <a:pt x="1999" y="3058"/>
                  </a:lnTo>
                  <a:lnTo>
                    <a:pt x="1997" y="3057"/>
                  </a:lnTo>
                  <a:lnTo>
                    <a:pt x="1997" y="3057"/>
                  </a:lnTo>
                  <a:lnTo>
                    <a:pt x="1996" y="3057"/>
                  </a:lnTo>
                  <a:lnTo>
                    <a:pt x="1994" y="3056"/>
                  </a:lnTo>
                  <a:lnTo>
                    <a:pt x="1994" y="3056"/>
                  </a:lnTo>
                  <a:lnTo>
                    <a:pt x="1993" y="3056"/>
                  </a:lnTo>
                  <a:lnTo>
                    <a:pt x="1992" y="3055"/>
                  </a:lnTo>
                  <a:lnTo>
                    <a:pt x="1992" y="3055"/>
                  </a:lnTo>
                  <a:cubicBezTo>
                    <a:pt x="1991" y="3055"/>
                    <a:pt x="1990" y="3054"/>
                    <a:pt x="1989" y="3054"/>
                  </a:cubicBezTo>
                  <a:lnTo>
                    <a:pt x="1987" y="3053"/>
                  </a:lnTo>
                  <a:lnTo>
                    <a:pt x="1987" y="3053"/>
                  </a:lnTo>
                  <a:cubicBezTo>
                    <a:pt x="1983" y="3052"/>
                    <a:pt x="1979" y="3050"/>
                    <a:pt x="1975" y="3048"/>
                  </a:cubicBezTo>
                  <a:lnTo>
                    <a:pt x="1975" y="3048"/>
                  </a:lnTo>
                  <a:cubicBezTo>
                    <a:pt x="1973" y="3047"/>
                    <a:pt x="1972" y="3046"/>
                    <a:pt x="1970" y="3045"/>
                  </a:cubicBezTo>
                  <a:lnTo>
                    <a:pt x="1969" y="3044"/>
                  </a:lnTo>
                  <a:lnTo>
                    <a:pt x="1969" y="3044"/>
                  </a:lnTo>
                  <a:lnTo>
                    <a:pt x="1967" y="3043"/>
                  </a:lnTo>
                  <a:lnTo>
                    <a:pt x="1967" y="3043"/>
                  </a:lnTo>
                  <a:lnTo>
                    <a:pt x="1966" y="3042"/>
                  </a:lnTo>
                  <a:lnTo>
                    <a:pt x="1965" y="3042"/>
                  </a:lnTo>
                  <a:lnTo>
                    <a:pt x="1964" y="3041"/>
                  </a:lnTo>
                  <a:cubicBezTo>
                    <a:pt x="1959" y="3038"/>
                    <a:pt x="1955" y="3035"/>
                    <a:pt x="1951" y="3032"/>
                  </a:cubicBezTo>
                  <a:lnTo>
                    <a:pt x="1950" y="3032"/>
                  </a:lnTo>
                  <a:lnTo>
                    <a:pt x="1950" y="3032"/>
                  </a:lnTo>
                  <a:lnTo>
                    <a:pt x="1949" y="3031"/>
                  </a:lnTo>
                  <a:cubicBezTo>
                    <a:pt x="1947" y="3030"/>
                    <a:pt x="1946" y="3029"/>
                    <a:pt x="1945" y="3027"/>
                  </a:cubicBezTo>
                  <a:lnTo>
                    <a:pt x="1945" y="3027"/>
                  </a:lnTo>
                  <a:lnTo>
                    <a:pt x="1944" y="3027"/>
                  </a:lnTo>
                  <a:lnTo>
                    <a:pt x="1943" y="3026"/>
                  </a:lnTo>
                  <a:cubicBezTo>
                    <a:pt x="1940" y="3023"/>
                    <a:pt x="1936" y="3020"/>
                    <a:pt x="1933" y="3017"/>
                  </a:cubicBezTo>
                  <a:cubicBezTo>
                    <a:pt x="1909" y="2993"/>
                    <a:pt x="1892" y="2961"/>
                    <a:pt x="1886" y="2926"/>
                  </a:cubicBezTo>
                  <a:close/>
                  <a:moveTo>
                    <a:pt x="1886" y="3642"/>
                  </a:moveTo>
                  <a:lnTo>
                    <a:pt x="1398" y="3642"/>
                  </a:lnTo>
                  <a:lnTo>
                    <a:pt x="1386" y="3642"/>
                  </a:lnTo>
                  <a:lnTo>
                    <a:pt x="1377" y="3633"/>
                  </a:lnTo>
                  <a:lnTo>
                    <a:pt x="1098" y="3354"/>
                  </a:lnTo>
                  <a:lnTo>
                    <a:pt x="0" y="3354"/>
                  </a:lnTo>
                  <a:lnTo>
                    <a:pt x="0" y="3294"/>
                  </a:lnTo>
                  <a:lnTo>
                    <a:pt x="1110" y="3294"/>
                  </a:lnTo>
                  <a:lnTo>
                    <a:pt x="1123" y="3294"/>
                  </a:lnTo>
                  <a:lnTo>
                    <a:pt x="1132" y="3303"/>
                  </a:lnTo>
                  <a:lnTo>
                    <a:pt x="1411" y="3582"/>
                  </a:lnTo>
                  <a:lnTo>
                    <a:pt x="1886" y="3582"/>
                  </a:lnTo>
                  <a:cubicBezTo>
                    <a:pt x="1892" y="3547"/>
                    <a:pt x="1909" y="3515"/>
                    <a:pt x="1933" y="3491"/>
                  </a:cubicBezTo>
                  <a:cubicBezTo>
                    <a:pt x="1936" y="3488"/>
                    <a:pt x="1940" y="3485"/>
                    <a:pt x="1943" y="3482"/>
                  </a:cubicBezTo>
                  <a:lnTo>
                    <a:pt x="1944" y="3481"/>
                  </a:lnTo>
                  <a:lnTo>
                    <a:pt x="1945" y="3480"/>
                  </a:lnTo>
                  <a:lnTo>
                    <a:pt x="1945" y="3480"/>
                  </a:lnTo>
                  <a:cubicBezTo>
                    <a:pt x="1946" y="3479"/>
                    <a:pt x="1947" y="3478"/>
                    <a:pt x="1949" y="3477"/>
                  </a:cubicBezTo>
                  <a:lnTo>
                    <a:pt x="1950" y="3476"/>
                  </a:lnTo>
                  <a:lnTo>
                    <a:pt x="1950" y="3476"/>
                  </a:lnTo>
                  <a:lnTo>
                    <a:pt x="1951" y="3476"/>
                  </a:lnTo>
                  <a:cubicBezTo>
                    <a:pt x="1955" y="3472"/>
                    <a:pt x="1959" y="3469"/>
                    <a:pt x="1964" y="3467"/>
                  </a:cubicBezTo>
                  <a:lnTo>
                    <a:pt x="1965" y="3466"/>
                  </a:lnTo>
                  <a:lnTo>
                    <a:pt x="1966" y="3466"/>
                  </a:lnTo>
                  <a:lnTo>
                    <a:pt x="1967" y="3465"/>
                  </a:lnTo>
                  <a:lnTo>
                    <a:pt x="1967" y="3465"/>
                  </a:lnTo>
                  <a:lnTo>
                    <a:pt x="1969" y="3464"/>
                  </a:lnTo>
                  <a:lnTo>
                    <a:pt x="1969" y="3464"/>
                  </a:lnTo>
                  <a:lnTo>
                    <a:pt x="1970" y="3463"/>
                  </a:lnTo>
                  <a:lnTo>
                    <a:pt x="1972" y="3462"/>
                  </a:lnTo>
                  <a:lnTo>
                    <a:pt x="1972" y="3462"/>
                  </a:lnTo>
                  <a:lnTo>
                    <a:pt x="1974" y="3461"/>
                  </a:lnTo>
                  <a:lnTo>
                    <a:pt x="1975" y="3460"/>
                  </a:lnTo>
                  <a:lnTo>
                    <a:pt x="1975" y="3460"/>
                  </a:lnTo>
                  <a:cubicBezTo>
                    <a:pt x="1979" y="3458"/>
                    <a:pt x="1983" y="3456"/>
                    <a:pt x="1986" y="3455"/>
                  </a:cubicBezTo>
                  <a:lnTo>
                    <a:pt x="1987" y="3455"/>
                  </a:lnTo>
                  <a:lnTo>
                    <a:pt x="1987" y="3454"/>
                  </a:lnTo>
                  <a:lnTo>
                    <a:pt x="1989" y="3454"/>
                  </a:lnTo>
                  <a:cubicBezTo>
                    <a:pt x="1990" y="3453"/>
                    <a:pt x="1991" y="3453"/>
                    <a:pt x="1992" y="3453"/>
                  </a:cubicBezTo>
                  <a:lnTo>
                    <a:pt x="1992" y="3453"/>
                  </a:lnTo>
                  <a:lnTo>
                    <a:pt x="1993" y="3452"/>
                  </a:lnTo>
                  <a:lnTo>
                    <a:pt x="1994" y="3452"/>
                  </a:lnTo>
                  <a:lnTo>
                    <a:pt x="1994" y="3452"/>
                  </a:lnTo>
                  <a:lnTo>
                    <a:pt x="1996" y="3451"/>
                  </a:lnTo>
                  <a:lnTo>
                    <a:pt x="1997" y="3451"/>
                  </a:lnTo>
                  <a:lnTo>
                    <a:pt x="1997" y="3451"/>
                  </a:lnTo>
                  <a:lnTo>
                    <a:pt x="1999" y="3450"/>
                  </a:lnTo>
                  <a:lnTo>
                    <a:pt x="1999" y="3450"/>
                  </a:lnTo>
                  <a:lnTo>
                    <a:pt x="2001" y="3449"/>
                  </a:lnTo>
                  <a:lnTo>
                    <a:pt x="2001" y="3449"/>
                  </a:lnTo>
                  <a:lnTo>
                    <a:pt x="2003" y="3449"/>
                  </a:lnTo>
                  <a:lnTo>
                    <a:pt x="2003" y="3449"/>
                  </a:lnTo>
                  <a:lnTo>
                    <a:pt x="2005" y="3448"/>
                  </a:lnTo>
                  <a:lnTo>
                    <a:pt x="2005" y="3448"/>
                  </a:lnTo>
                  <a:lnTo>
                    <a:pt x="2006" y="3448"/>
                  </a:lnTo>
                  <a:lnTo>
                    <a:pt x="2007" y="3448"/>
                  </a:lnTo>
                  <a:lnTo>
                    <a:pt x="2008" y="3447"/>
                  </a:lnTo>
                  <a:lnTo>
                    <a:pt x="2009" y="3447"/>
                  </a:lnTo>
                  <a:lnTo>
                    <a:pt x="2010" y="3447"/>
                  </a:lnTo>
                  <a:lnTo>
                    <a:pt x="2010" y="3447"/>
                  </a:lnTo>
                  <a:lnTo>
                    <a:pt x="2014" y="3446"/>
                  </a:lnTo>
                  <a:lnTo>
                    <a:pt x="2015" y="3445"/>
                  </a:lnTo>
                  <a:lnTo>
                    <a:pt x="2015" y="3445"/>
                  </a:lnTo>
                  <a:lnTo>
                    <a:pt x="2017" y="3445"/>
                  </a:lnTo>
                  <a:lnTo>
                    <a:pt x="2017" y="3445"/>
                  </a:lnTo>
                  <a:lnTo>
                    <a:pt x="2019" y="3445"/>
                  </a:lnTo>
                  <a:lnTo>
                    <a:pt x="2021" y="3444"/>
                  </a:lnTo>
                  <a:lnTo>
                    <a:pt x="2021" y="3444"/>
                  </a:lnTo>
                  <a:lnTo>
                    <a:pt x="2023" y="3444"/>
                  </a:lnTo>
                  <a:lnTo>
                    <a:pt x="2024" y="3444"/>
                  </a:lnTo>
                  <a:lnTo>
                    <a:pt x="2024" y="3444"/>
                  </a:lnTo>
                  <a:lnTo>
                    <a:pt x="2025" y="3443"/>
                  </a:lnTo>
                  <a:lnTo>
                    <a:pt x="2026" y="3443"/>
                  </a:lnTo>
                  <a:lnTo>
                    <a:pt x="2027" y="3443"/>
                  </a:lnTo>
                  <a:lnTo>
                    <a:pt x="2028" y="3443"/>
                  </a:lnTo>
                  <a:lnTo>
                    <a:pt x="2029" y="3443"/>
                  </a:lnTo>
                  <a:lnTo>
                    <a:pt x="2030" y="3443"/>
                  </a:lnTo>
                  <a:lnTo>
                    <a:pt x="2030" y="3443"/>
                  </a:lnTo>
                  <a:lnTo>
                    <a:pt x="2032" y="3442"/>
                  </a:lnTo>
                  <a:lnTo>
                    <a:pt x="2032" y="3442"/>
                  </a:lnTo>
                  <a:lnTo>
                    <a:pt x="2034" y="3442"/>
                  </a:lnTo>
                  <a:lnTo>
                    <a:pt x="2034" y="3442"/>
                  </a:lnTo>
                  <a:lnTo>
                    <a:pt x="2036" y="3442"/>
                  </a:lnTo>
                  <a:lnTo>
                    <a:pt x="2036" y="3442"/>
                  </a:lnTo>
                  <a:lnTo>
                    <a:pt x="2038" y="3442"/>
                  </a:lnTo>
                  <a:lnTo>
                    <a:pt x="2038" y="3442"/>
                  </a:lnTo>
                  <a:lnTo>
                    <a:pt x="2040" y="3442"/>
                  </a:lnTo>
                  <a:lnTo>
                    <a:pt x="2041" y="3442"/>
                  </a:lnTo>
                  <a:lnTo>
                    <a:pt x="2042" y="3441"/>
                  </a:lnTo>
                  <a:lnTo>
                    <a:pt x="2043" y="3441"/>
                  </a:lnTo>
                  <a:lnTo>
                    <a:pt x="2044" y="3441"/>
                  </a:lnTo>
                  <a:lnTo>
                    <a:pt x="2045" y="3441"/>
                  </a:lnTo>
                  <a:lnTo>
                    <a:pt x="2046" y="3441"/>
                  </a:lnTo>
                  <a:lnTo>
                    <a:pt x="2047" y="3441"/>
                  </a:lnTo>
                  <a:lnTo>
                    <a:pt x="2047" y="3441"/>
                  </a:lnTo>
                  <a:lnTo>
                    <a:pt x="2052" y="3441"/>
                  </a:lnTo>
                  <a:lnTo>
                    <a:pt x="2052" y="3441"/>
                  </a:lnTo>
                  <a:lnTo>
                    <a:pt x="2054" y="3441"/>
                  </a:lnTo>
                  <a:cubicBezTo>
                    <a:pt x="2101" y="3441"/>
                    <a:pt x="2144" y="3460"/>
                    <a:pt x="2175" y="3491"/>
                  </a:cubicBezTo>
                  <a:cubicBezTo>
                    <a:pt x="2205" y="3522"/>
                    <a:pt x="2225" y="3565"/>
                    <a:pt x="2225" y="3612"/>
                  </a:cubicBezTo>
                  <a:cubicBezTo>
                    <a:pt x="2225" y="3659"/>
                    <a:pt x="2205" y="3702"/>
                    <a:pt x="2175" y="3733"/>
                  </a:cubicBezTo>
                  <a:cubicBezTo>
                    <a:pt x="2144" y="3764"/>
                    <a:pt x="2101" y="3783"/>
                    <a:pt x="2054" y="3783"/>
                  </a:cubicBezTo>
                  <a:lnTo>
                    <a:pt x="2052" y="3783"/>
                  </a:lnTo>
                  <a:lnTo>
                    <a:pt x="2052" y="3783"/>
                  </a:lnTo>
                  <a:cubicBezTo>
                    <a:pt x="2050" y="3783"/>
                    <a:pt x="2049" y="3783"/>
                    <a:pt x="2047" y="3782"/>
                  </a:cubicBezTo>
                  <a:lnTo>
                    <a:pt x="2047" y="3782"/>
                  </a:lnTo>
                  <a:lnTo>
                    <a:pt x="2046" y="3782"/>
                  </a:lnTo>
                  <a:lnTo>
                    <a:pt x="2045" y="3782"/>
                  </a:lnTo>
                  <a:lnTo>
                    <a:pt x="2044" y="3782"/>
                  </a:lnTo>
                  <a:lnTo>
                    <a:pt x="2043" y="3782"/>
                  </a:lnTo>
                  <a:lnTo>
                    <a:pt x="2042" y="3782"/>
                  </a:lnTo>
                  <a:lnTo>
                    <a:pt x="2041" y="3782"/>
                  </a:lnTo>
                  <a:lnTo>
                    <a:pt x="2040" y="3782"/>
                  </a:lnTo>
                  <a:lnTo>
                    <a:pt x="2038" y="3782"/>
                  </a:lnTo>
                  <a:lnTo>
                    <a:pt x="2038" y="3782"/>
                  </a:lnTo>
                  <a:lnTo>
                    <a:pt x="2036" y="3782"/>
                  </a:lnTo>
                  <a:lnTo>
                    <a:pt x="2036" y="3782"/>
                  </a:lnTo>
                  <a:lnTo>
                    <a:pt x="2034" y="3782"/>
                  </a:lnTo>
                  <a:lnTo>
                    <a:pt x="2034" y="3781"/>
                  </a:lnTo>
                  <a:lnTo>
                    <a:pt x="2032" y="3781"/>
                  </a:lnTo>
                  <a:lnTo>
                    <a:pt x="2032" y="3781"/>
                  </a:lnTo>
                  <a:lnTo>
                    <a:pt x="2030" y="3781"/>
                  </a:lnTo>
                  <a:lnTo>
                    <a:pt x="2030" y="3781"/>
                  </a:lnTo>
                  <a:lnTo>
                    <a:pt x="2029" y="3781"/>
                  </a:lnTo>
                  <a:lnTo>
                    <a:pt x="2028" y="3781"/>
                  </a:lnTo>
                  <a:lnTo>
                    <a:pt x="2027" y="3780"/>
                  </a:lnTo>
                  <a:lnTo>
                    <a:pt x="2026" y="3780"/>
                  </a:lnTo>
                  <a:lnTo>
                    <a:pt x="2025" y="3780"/>
                  </a:lnTo>
                  <a:lnTo>
                    <a:pt x="2024" y="3780"/>
                  </a:lnTo>
                  <a:lnTo>
                    <a:pt x="2024" y="3780"/>
                  </a:lnTo>
                  <a:lnTo>
                    <a:pt x="2023" y="3780"/>
                  </a:lnTo>
                  <a:lnTo>
                    <a:pt x="2021" y="3780"/>
                  </a:lnTo>
                  <a:lnTo>
                    <a:pt x="2021" y="3779"/>
                  </a:lnTo>
                  <a:lnTo>
                    <a:pt x="2019" y="3779"/>
                  </a:lnTo>
                  <a:lnTo>
                    <a:pt x="2017" y="3779"/>
                  </a:lnTo>
                  <a:lnTo>
                    <a:pt x="2017" y="3779"/>
                  </a:lnTo>
                  <a:lnTo>
                    <a:pt x="2015" y="3778"/>
                  </a:lnTo>
                  <a:lnTo>
                    <a:pt x="2015" y="3778"/>
                  </a:lnTo>
                  <a:lnTo>
                    <a:pt x="2014" y="3778"/>
                  </a:lnTo>
                  <a:lnTo>
                    <a:pt x="2010" y="3777"/>
                  </a:lnTo>
                  <a:lnTo>
                    <a:pt x="2010" y="3777"/>
                  </a:lnTo>
                  <a:lnTo>
                    <a:pt x="2009" y="3777"/>
                  </a:lnTo>
                  <a:lnTo>
                    <a:pt x="2008" y="3776"/>
                  </a:lnTo>
                  <a:lnTo>
                    <a:pt x="2007" y="3776"/>
                  </a:lnTo>
                  <a:lnTo>
                    <a:pt x="2006" y="3776"/>
                  </a:lnTo>
                  <a:lnTo>
                    <a:pt x="2005" y="3776"/>
                  </a:lnTo>
                  <a:lnTo>
                    <a:pt x="2005" y="3775"/>
                  </a:lnTo>
                  <a:lnTo>
                    <a:pt x="2003" y="3775"/>
                  </a:lnTo>
                  <a:lnTo>
                    <a:pt x="2003" y="3775"/>
                  </a:lnTo>
                  <a:lnTo>
                    <a:pt x="2001" y="3774"/>
                  </a:lnTo>
                  <a:lnTo>
                    <a:pt x="2001" y="3774"/>
                  </a:lnTo>
                  <a:lnTo>
                    <a:pt x="1999" y="3774"/>
                  </a:lnTo>
                  <a:lnTo>
                    <a:pt x="1999" y="3774"/>
                  </a:lnTo>
                  <a:lnTo>
                    <a:pt x="1997" y="3773"/>
                  </a:lnTo>
                  <a:lnTo>
                    <a:pt x="1997" y="3773"/>
                  </a:lnTo>
                  <a:lnTo>
                    <a:pt x="1996" y="3772"/>
                  </a:lnTo>
                  <a:lnTo>
                    <a:pt x="1994" y="3772"/>
                  </a:lnTo>
                  <a:lnTo>
                    <a:pt x="1994" y="3772"/>
                  </a:lnTo>
                  <a:lnTo>
                    <a:pt x="1993" y="3772"/>
                  </a:lnTo>
                  <a:lnTo>
                    <a:pt x="1992" y="3771"/>
                  </a:lnTo>
                  <a:lnTo>
                    <a:pt x="1992" y="3771"/>
                  </a:lnTo>
                  <a:cubicBezTo>
                    <a:pt x="1991" y="3771"/>
                    <a:pt x="1990" y="3770"/>
                    <a:pt x="1989" y="3770"/>
                  </a:cubicBezTo>
                  <a:lnTo>
                    <a:pt x="1987" y="3769"/>
                  </a:lnTo>
                  <a:lnTo>
                    <a:pt x="1987" y="3769"/>
                  </a:lnTo>
                  <a:cubicBezTo>
                    <a:pt x="1983" y="3767"/>
                    <a:pt x="1979" y="3766"/>
                    <a:pt x="1975" y="3764"/>
                  </a:cubicBezTo>
                  <a:lnTo>
                    <a:pt x="1975" y="3763"/>
                  </a:lnTo>
                  <a:cubicBezTo>
                    <a:pt x="1973" y="3763"/>
                    <a:pt x="1972" y="3762"/>
                    <a:pt x="1970" y="3761"/>
                  </a:cubicBezTo>
                  <a:lnTo>
                    <a:pt x="1969" y="3760"/>
                  </a:lnTo>
                  <a:lnTo>
                    <a:pt x="1969" y="3760"/>
                  </a:lnTo>
                  <a:lnTo>
                    <a:pt x="1967" y="3759"/>
                  </a:lnTo>
                  <a:lnTo>
                    <a:pt x="1967" y="3759"/>
                  </a:lnTo>
                  <a:lnTo>
                    <a:pt x="1966" y="3758"/>
                  </a:lnTo>
                  <a:lnTo>
                    <a:pt x="1965" y="3758"/>
                  </a:lnTo>
                  <a:lnTo>
                    <a:pt x="1964" y="3757"/>
                  </a:lnTo>
                  <a:cubicBezTo>
                    <a:pt x="1959" y="3754"/>
                    <a:pt x="1955" y="3751"/>
                    <a:pt x="1951" y="3748"/>
                  </a:cubicBezTo>
                  <a:lnTo>
                    <a:pt x="1950" y="3748"/>
                  </a:lnTo>
                  <a:lnTo>
                    <a:pt x="1950" y="3748"/>
                  </a:lnTo>
                  <a:lnTo>
                    <a:pt x="1949" y="3746"/>
                  </a:lnTo>
                  <a:cubicBezTo>
                    <a:pt x="1947" y="3745"/>
                    <a:pt x="1946" y="3744"/>
                    <a:pt x="1945" y="3743"/>
                  </a:cubicBezTo>
                  <a:lnTo>
                    <a:pt x="1945" y="3743"/>
                  </a:lnTo>
                  <a:lnTo>
                    <a:pt x="1944" y="3742"/>
                  </a:lnTo>
                  <a:lnTo>
                    <a:pt x="1943" y="3742"/>
                  </a:lnTo>
                  <a:cubicBezTo>
                    <a:pt x="1940" y="3739"/>
                    <a:pt x="1936" y="3736"/>
                    <a:pt x="1933" y="3733"/>
                  </a:cubicBezTo>
                  <a:cubicBezTo>
                    <a:pt x="1909" y="3708"/>
                    <a:pt x="1892" y="3677"/>
                    <a:pt x="1886" y="3642"/>
                  </a:cubicBezTo>
                  <a:close/>
                  <a:moveTo>
                    <a:pt x="1986" y="2023"/>
                  </a:moveTo>
                  <a:cubicBezTo>
                    <a:pt x="1983" y="2025"/>
                    <a:pt x="1979" y="2026"/>
                    <a:pt x="1975" y="2028"/>
                  </a:cubicBezTo>
                  <a:lnTo>
                    <a:pt x="1975" y="2029"/>
                  </a:lnTo>
                  <a:lnTo>
                    <a:pt x="1974" y="2029"/>
                  </a:lnTo>
                  <a:lnTo>
                    <a:pt x="1972" y="2030"/>
                  </a:lnTo>
                  <a:lnTo>
                    <a:pt x="1972" y="2030"/>
                  </a:lnTo>
                  <a:lnTo>
                    <a:pt x="1970" y="2031"/>
                  </a:lnTo>
                  <a:lnTo>
                    <a:pt x="1969" y="2032"/>
                  </a:lnTo>
                  <a:lnTo>
                    <a:pt x="1969" y="2032"/>
                  </a:lnTo>
                  <a:lnTo>
                    <a:pt x="1967" y="2033"/>
                  </a:lnTo>
                  <a:lnTo>
                    <a:pt x="1967" y="2033"/>
                  </a:lnTo>
                  <a:lnTo>
                    <a:pt x="1966" y="2034"/>
                  </a:lnTo>
                  <a:lnTo>
                    <a:pt x="1965" y="2034"/>
                  </a:lnTo>
                  <a:lnTo>
                    <a:pt x="1964" y="2035"/>
                  </a:lnTo>
                  <a:cubicBezTo>
                    <a:pt x="1959" y="2038"/>
                    <a:pt x="1955" y="2041"/>
                    <a:pt x="1951" y="2044"/>
                  </a:cubicBezTo>
                  <a:lnTo>
                    <a:pt x="1950" y="2044"/>
                  </a:lnTo>
                  <a:lnTo>
                    <a:pt x="1950" y="2045"/>
                  </a:lnTo>
                  <a:lnTo>
                    <a:pt x="1949" y="2045"/>
                  </a:lnTo>
                  <a:cubicBezTo>
                    <a:pt x="1947" y="2047"/>
                    <a:pt x="1946" y="2048"/>
                    <a:pt x="1945" y="2049"/>
                  </a:cubicBezTo>
                  <a:lnTo>
                    <a:pt x="1945" y="2049"/>
                  </a:lnTo>
                  <a:lnTo>
                    <a:pt x="1944" y="2050"/>
                  </a:lnTo>
                  <a:lnTo>
                    <a:pt x="1943" y="2050"/>
                  </a:lnTo>
                  <a:cubicBezTo>
                    <a:pt x="1940" y="2053"/>
                    <a:pt x="1936" y="2056"/>
                    <a:pt x="1933" y="2059"/>
                  </a:cubicBezTo>
                  <a:cubicBezTo>
                    <a:pt x="1909" y="2083"/>
                    <a:pt x="1892" y="2115"/>
                    <a:pt x="1886" y="2150"/>
                  </a:cubicBezTo>
                  <a:lnTo>
                    <a:pt x="1398" y="2150"/>
                  </a:lnTo>
                  <a:lnTo>
                    <a:pt x="1386" y="2150"/>
                  </a:lnTo>
                  <a:lnTo>
                    <a:pt x="1377" y="2159"/>
                  </a:lnTo>
                  <a:lnTo>
                    <a:pt x="1098" y="2438"/>
                  </a:lnTo>
                  <a:lnTo>
                    <a:pt x="0" y="2438"/>
                  </a:lnTo>
                  <a:lnTo>
                    <a:pt x="0" y="2498"/>
                  </a:lnTo>
                  <a:lnTo>
                    <a:pt x="1110" y="2498"/>
                  </a:lnTo>
                  <a:lnTo>
                    <a:pt x="1123" y="2498"/>
                  </a:lnTo>
                  <a:lnTo>
                    <a:pt x="1132" y="2489"/>
                  </a:lnTo>
                  <a:lnTo>
                    <a:pt x="1411" y="2210"/>
                  </a:lnTo>
                  <a:lnTo>
                    <a:pt x="1886" y="2210"/>
                  </a:lnTo>
                  <a:cubicBezTo>
                    <a:pt x="1892" y="2245"/>
                    <a:pt x="1909" y="2277"/>
                    <a:pt x="1933" y="2301"/>
                  </a:cubicBezTo>
                  <a:cubicBezTo>
                    <a:pt x="1936" y="2304"/>
                    <a:pt x="1940" y="2307"/>
                    <a:pt x="1943" y="2310"/>
                  </a:cubicBezTo>
                  <a:lnTo>
                    <a:pt x="1944" y="2311"/>
                  </a:lnTo>
                  <a:lnTo>
                    <a:pt x="1945" y="2311"/>
                  </a:lnTo>
                  <a:lnTo>
                    <a:pt x="1945" y="2312"/>
                  </a:lnTo>
                  <a:cubicBezTo>
                    <a:pt x="1946" y="2313"/>
                    <a:pt x="1947" y="2314"/>
                    <a:pt x="1949" y="2315"/>
                  </a:cubicBezTo>
                  <a:lnTo>
                    <a:pt x="1950" y="2316"/>
                  </a:lnTo>
                  <a:lnTo>
                    <a:pt x="1950" y="2316"/>
                  </a:lnTo>
                  <a:lnTo>
                    <a:pt x="1951" y="2316"/>
                  </a:lnTo>
                  <a:cubicBezTo>
                    <a:pt x="1955" y="2319"/>
                    <a:pt x="1959" y="2323"/>
                    <a:pt x="1964" y="2325"/>
                  </a:cubicBezTo>
                  <a:lnTo>
                    <a:pt x="1965" y="2326"/>
                  </a:lnTo>
                  <a:lnTo>
                    <a:pt x="1966" y="2326"/>
                  </a:lnTo>
                  <a:lnTo>
                    <a:pt x="1967" y="2327"/>
                  </a:lnTo>
                  <a:lnTo>
                    <a:pt x="1967" y="2327"/>
                  </a:lnTo>
                  <a:lnTo>
                    <a:pt x="1969" y="2328"/>
                  </a:lnTo>
                  <a:lnTo>
                    <a:pt x="1969" y="2328"/>
                  </a:lnTo>
                  <a:lnTo>
                    <a:pt x="1970" y="2329"/>
                  </a:lnTo>
                  <a:cubicBezTo>
                    <a:pt x="1972" y="2330"/>
                    <a:pt x="1973" y="2331"/>
                    <a:pt x="1975" y="2332"/>
                  </a:cubicBezTo>
                  <a:lnTo>
                    <a:pt x="1975" y="2332"/>
                  </a:lnTo>
                  <a:cubicBezTo>
                    <a:pt x="1979" y="2334"/>
                    <a:pt x="1983" y="2336"/>
                    <a:pt x="1987" y="2337"/>
                  </a:cubicBezTo>
                  <a:lnTo>
                    <a:pt x="1987" y="2337"/>
                  </a:lnTo>
                  <a:lnTo>
                    <a:pt x="1989" y="2338"/>
                  </a:lnTo>
                  <a:cubicBezTo>
                    <a:pt x="1990" y="2338"/>
                    <a:pt x="1991" y="2339"/>
                    <a:pt x="1992" y="2339"/>
                  </a:cubicBezTo>
                  <a:lnTo>
                    <a:pt x="1992" y="2339"/>
                  </a:lnTo>
                  <a:lnTo>
                    <a:pt x="1993" y="2340"/>
                  </a:lnTo>
                  <a:lnTo>
                    <a:pt x="1994" y="2340"/>
                  </a:lnTo>
                  <a:lnTo>
                    <a:pt x="1994" y="2340"/>
                  </a:lnTo>
                  <a:lnTo>
                    <a:pt x="1996" y="2341"/>
                  </a:lnTo>
                  <a:lnTo>
                    <a:pt x="1997" y="2341"/>
                  </a:lnTo>
                  <a:lnTo>
                    <a:pt x="1997" y="2341"/>
                  </a:lnTo>
                  <a:lnTo>
                    <a:pt x="1999" y="2342"/>
                  </a:lnTo>
                  <a:lnTo>
                    <a:pt x="1999" y="2342"/>
                  </a:lnTo>
                  <a:lnTo>
                    <a:pt x="2001" y="2342"/>
                  </a:lnTo>
                  <a:lnTo>
                    <a:pt x="2001" y="2343"/>
                  </a:lnTo>
                  <a:lnTo>
                    <a:pt x="2003" y="2343"/>
                  </a:lnTo>
                  <a:lnTo>
                    <a:pt x="2003" y="2343"/>
                  </a:lnTo>
                  <a:lnTo>
                    <a:pt x="2005" y="2344"/>
                  </a:lnTo>
                  <a:lnTo>
                    <a:pt x="2005" y="2344"/>
                  </a:lnTo>
                  <a:lnTo>
                    <a:pt x="2006" y="2344"/>
                  </a:lnTo>
                  <a:lnTo>
                    <a:pt x="2007" y="2344"/>
                  </a:lnTo>
                  <a:lnTo>
                    <a:pt x="2008" y="2345"/>
                  </a:lnTo>
                  <a:lnTo>
                    <a:pt x="2009" y="2345"/>
                  </a:lnTo>
                  <a:lnTo>
                    <a:pt x="2010" y="2345"/>
                  </a:lnTo>
                  <a:lnTo>
                    <a:pt x="2010" y="2345"/>
                  </a:lnTo>
                  <a:lnTo>
                    <a:pt x="2014" y="2346"/>
                  </a:lnTo>
                  <a:lnTo>
                    <a:pt x="2015" y="2346"/>
                  </a:lnTo>
                  <a:lnTo>
                    <a:pt x="2015" y="2346"/>
                  </a:lnTo>
                  <a:lnTo>
                    <a:pt x="2017" y="2347"/>
                  </a:lnTo>
                  <a:lnTo>
                    <a:pt x="2017" y="2347"/>
                  </a:lnTo>
                  <a:lnTo>
                    <a:pt x="2019" y="2347"/>
                  </a:lnTo>
                  <a:lnTo>
                    <a:pt x="2021" y="2348"/>
                  </a:lnTo>
                  <a:lnTo>
                    <a:pt x="2021" y="2348"/>
                  </a:lnTo>
                  <a:lnTo>
                    <a:pt x="2023" y="2348"/>
                  </a:lnTo>
                  <a:lnTo>
                    <a:pt x="2024" y="2348"/>
                  </a:lnTo>
                  <a:lnTo>
                    <a:pt x="2024" y="2348"/>
                  </a:lnTo>
                  <a:lnTo>
                    <a:pt x="2025" y="2348"/>
                  </a:lnTo>
                  <a:lnTo>
                    <a:pt x="2026" y="2349"/>
                  </a:lnTo>
                  <a:lnTo>
                    <a:pt x="2027" y="2349"/>
                  </a:lnTo>
                  <a:lnTo>
                    <a:pt x="2028" y="2349"/>
                  </a:lnTo>
                  <a:lnTo>
                    <a:pt x="2029" y="2349"/>
                  </a:lnTo>
                  <a:lnTo>
                    <a:pt x="2030" y="2349"/>
                  </a:lnTo>
                  <a:lnTo>
                    <a:pt x="2030" y="2349"/>
                  </a:lnTo>
                  <a:lnTo>
                    <a:pt x="2032" y="2349"/>
                  </a:lnTo>
                  <a:lnTo>
                    <a:pt x="2032" y="2349"/>
                  </a:lnTo>
                  <a:lnTo>
                    <a:pt x="2034" y="2350"/>
                  </a:lnTo>
                  <a:lnTo>
                    <a:pt x="2034" y="2350"/>
                  </a:lnTo>
                  <a:lnTo>
                    <a:pt x="2036" y="2350"/>
                  </a:lnTo>
                  <a:lnTo>
                    <a:pt x="2036" y="2350"/>
                  </a:lnTo>
                  <a:lnTo>
                    <a:pt x="2038" y="2350"/>
                  </a:lnTo>
                  <a:lnTo>
                    <a:pt x="2038" y="2350"/>
                  </a:lnTo>
                  <a:lnTo>
                    <a:pt x="2040" y="2350"/>
                  </a:lnTo>
                  <a:lnTo>
                    <a:pt x="2041" y="2350"/>
                  </a:lnTo>
                  <a:lnTo>
                    <a:pt x="2042" y="2350"/>
                  </a:lnTo>
                  <a:lnTo>
                    <a:pt x="2043" y="2350"/>
                  </a:lnTo>
                  <a:lnTo>
                    <a:pt x="2044" y="2351"/>
                  </a:lnTo>
                  <a:lnTo>
                    <a:pt x="2045" y="2351"/>
                  </a:lnTo>
                  <a:lnTo>
                    <a:pt x="2046" y="2351"/>
                  </a:lnTo>
                  <a:lnTo>
                    <a:pt x="2047" y="2351"/>
                  </a:lnTo>
                  <a:lnTo>
                    <a:pt x="2047" y="2351"/>
                  </a:lnTo>
                  <a:cubicBezTo>
                    <a:pt x="2049" y="2351"/>
                    <a:pt x="2050" y="2351"/>
                    <a:pt x="2052" y="2351"/>
                  </a:cubicBezTo>
                  <a:lnTo>
                    <a:pt x="2052" y="2351"/>
                  </a:lnTo>
                  <a:lnTo>
                    <a:pt x="2054" y="2351"/>
                  </a:lnTo>
                  <a:cubicBezTo>
                    <a:pt x="2101" y="2351"/>
                    <a:pt x="2144" y="2332"/>
                    <a:pt x="2175" y="2301"/>
                  </a:cubicBezTo>
                  <a:cubicBezTo>
                    <a:pt x="2205" y="2270"/>
                    <a:pt x="2225" y="2227"/>
                    <a:pt x="2225" y="2180"/>
                  </a:cubicBezTo>
                  <a:cubicBezTo>
                    <a:pt x="2225" y="2133"/>
                    <a:pt x="2205" y="2090"/>
                    <a:pt x="2175" y="2059"/>
                  </a:cubicBezTo>
                  <a:cubicBezTo>
                    <a:pt x="2144" y="2029"/>
                    <a:pt x="2101" y="2009"/>
                    <a:pt x="2054" y="2009"/>
                  </a:cubicBezTo>
                  <a:lnTo>
                    <a:pt x="2052" y="2009"/>
                  </a:lnTo>
                  <a:lnTo>
                    <a:pt x="2052" y="2009"/>
                  </a:lnTo>
                  <a:lnTo>
                    <a:pt x="2047" y="2009"/>
                  </a:lnTo>
                  <a:lnTo>
                    <a:pt x="2047" y="2009"/>
                  </a:lnTo>
                  <a:lnTo>
                    <a:pt x="2046" y="2009"/>
                  </a:lnTo>
                  <a:lnTo>
                    <a:pt x="2045" y="2010"/>
                  </a:lnTo>
                  <a:lnTo>
                    <a:pt x="2044" y="2010"/>
                  </a:lnTo>
                  <a:lnTo>
                    <a:pt x="2043" y="2010"/>
                  </a:lnTo>
                  <a:lnTo>
                    <a:pt x="2042" y="2010"/>
                  </a:lnTo>
                  <a:lnTo>
                    <a:pt x="2041" y="2010"/>
                  </a:lnTo>
                  <a:lnTo>
                    <a:pt x="2040" y="2010"/>
                  </a:lnTo>
                  <a:lnTo>
                    <a:pt x="2038" y="2010"/>
                  </a:lnTo>
                  <a:lnTo>
                    <a:pt x="2038" y="2010"/>
                  </a:lnTo>
                  <a:lnTo>
                    <a:pt x="2036" y="2010"/>
                  </a:lnTo>
                  <a:lnTo>
                    <a:pt x="2036" y="2010"/>
                  </a:lnTo>
                  <a:lnTo>
                    <a:pt x="2034" y="2010"/>
                  </a:lnTo>
                  <a:lnTo>
                    <a:pt x="2034" y="2010"/>
                  </a:lnTo>
                  <a:lnTo>
                    <a:pt x="2032" y="2011"/>
                  </a:lnTo>
                  <a:lnTo>
                    <a:pt x="2032" y="2011"/>
                  </a:lnTo>
                  <a:lnTo>
                    <a:pt x="2030" y="2011"/>
                  </a:lnTo>
                  <a:lnTo>
                    <a:pt x="2030" y="2011"/>
                  </a:lnTo>
                  <a:lnTo>
                    <a:pt x="2029" y="2011"/>
                  </a:lnTo>
                  <a:lnTo>
                    <a:pt x="2028" y="2011"/>
                  </a:lnTo>
                  <a:lnTo>
                    <a:pt x="2027" y="2011"/>
                  </a:lnTo>
                  <a:lnTo>
                    <a:pt x="2026" y="2012"/>
                  </a:lnTo>
                  <a:lnTo>
                    <a:pt x="2025" y="2012"/>
                  </a:lnTo>
                  <a:lnTo>
                    <a:pt x="2024" y="2012"/>
                  </a:lnTo>
                  <a:lnTo>
                    <a:pt x="2024" y="2012"/>
                  </a:lnTo>
                  <a:lnTo>
                    <a:pt x="2023" y="2012"/>
                  </a:lnTo>
                  <a:lnTo>
                    <a:pt x="2021" y="2012"/>
                  </a:lnTo>
                  <a:lnTo>
                    <a:pt x="2021" y="2012"/>
                  </a:lnTo>
                  <a:lnTo>
                    <a:pt x="2019" y="2013"/>
                  </a:lnTo>
                  <a:lnTo>
                    <a:pt x="2017" y="2013"/>
                  </a:lnTo>
                  <a:lnTo>
                    <a:pt x="2017" y="2013"/>
                  </a:lnTo>
                  <a:lnTo>
                    <a:pt x="2015" y="2014"/>
                  </a:lnTo>
                  <a:lnTo>
                    <a:pt x="2015" y="2014"/>
                  </a:lnTo>
                  <a:lnTo>
                    <a:pt x="2014" y="2014"/>
                  </a:lnTo>
                  <a:lnTo>
                    <a:pt x="2010" y="2015"/>
                  </a:lnTo>
                  <a:lnTo>
                    <a:pt x="2010" y="2015"/>
                  </a:lnTo>
                  <a:lnTo>
                    <a:pt x="2009" y="2015"/>
                  </a:lnTo>
                  <a:lnTo>
                    <a:pt x="2008" y="2015"/>
                  </a:lnTo>
                  <a:lnTo>
                    <a:pt x="2007" y="2016"/>
                  </a:lnTo>
                  <a:lnTo>
                    <a:pt x="2006" y="2016"/>
                  </a:lnTo>
                  <a:lnTo>
                    <a:pt x="2005" y="2016"/>
                  </a:lnTo>
                  <a:lnTo>
                    <a:pt x="2005" y="2016"/>
                  </a:lnTo>
                  <a:lnTo>
                    <a:pt x="2003" y="2017"/>
                  </a:lnTo>
                  <a:lnTo>
                    <a:pt x="2003" y="2017"/>
                  </a:lnTo>
                  <a:lnTo>
                    <a:pt x="2001" y="2018"/>
                  </a:lnTo>
                  <a:lnTo>
                    <a:pt x="2001" y="2018"/>
                  </a:lnTo>
                  <a:lnTo>
                    <a:pt x="1999" y="2018"/>
                  </a:lnTo>
                  <a:lnTo>
                    <a:pt x="1999" y="2018"/>
                  </a:lnTo>
                  <a:lnTo>
                    <a:pt x="1997" y="2019"/>
                  </a:lnTo>
                  <a:lnTo>
                    <a:pt x="1997" y="2019"/>
                  </a:lnTo>
                  <a:lnTo>
                    <a:pt x="1996" y="2019"/>
                  </a:lnTo>
                  <a:lnTo>
                    <a:pt x="1994" y="2020"/>
                  </a:lnTo>
                  <a:lnTo>
                    <a:pt x="1994" y="2020"/>
                  </a:lnTo>
                  <a:lnTo>
                    <a:pt x="1993" y="2020"/>
                  </a:lnTo>
                  <a:lnTo>
                    <a:pt x="1992" y="2021"/>
                  </a:lnTo>
                  <a:lnTo>
                    <a:pt x="1992" y="2021"/>
                  </a:lnTo>
                  <a:lnTo>
                    <a:pt x="1989" y="2022"/>
                  </a:lnTo>
                  <a:lnTo>
                    <a:pt x="1987" y="2023"/>
                  </a:lnTo>
                  <a:lnTo>
                    <a:pt x="1987" y="2023"/>
                  </a:lnTo>
                  <a:lnTo>
                    <a:pt x="1986" y="2023"/>
                  </a:lnTo>
                  <a:close/>
                  <a:moveTo>
                    <a:pt x="406" y="1450"/>
                  </a:moveTo>
                  <a:lnTo>
                    <a:pt x="406" y="909"/>
                  </a:lnTo>
                  <a:cubicBezTo>
                    <a:pt x="406" y="659"/>
                    <a:pt x="508" y="431"/>
                    <a:pt x="673" y="267"/>
                  </a:cubicBezTo>
                  <a:cubicBezTo>
                    <a:pt x="838" y="102"/>
                    <a:pt x="1065" y="0"/>
                    <a:pt x="1315" y="0"/>
                  </a:cubicBezTo>
                  <a:lnTo>
                    <a:pt x="1315" y="0"/>
                  </a:lnTo>
                  <a:cubicBezTo>
                    <a:pt x="1564" y="0"/>
                    <a:pt x="1792" y="102"/>
                    <a:pt x="1956" y="267"/>
                  </a:cubicBezTo>
                  <a:cubicBezTo>
                    <a:pt x="2121" y="431"/>
                    <a:pt x="2223" y="659"/>
                    <a:pt x="2223" y="909"/>
                  </a:cubicBezTo>
                  <a:lnTo>
                    <a:pt x="2223" y="1450"/>
                  </a:lnTo>
                  <a:lnTo>
                    <a:pt x="1930" y="1450"/>
                  </a:lnTo>
                  <a:lnTo>
                    <a:pt x="1930" y="913"/>
                  </a:lnTo>
                  <a:cubicBezTo>
                    <a:pt x="1930" y="744"/>
                    <a:pt x="1860" y="590"/>
                    <a:pt x="1749" y="479"/>
                  </a:cubicBezTo>
                  <a:cubicBezTo>
                    <a:pt x="1638" y="367"/>
                    <a:pt x="1484" y="298"/>
                    <a:pt x="1315" y="298"/>
                  </a:cubicBezTo>
                  <a:lnTo>
                    <a:pt x="1315" y="298"/>
                  </a:lnTo>
                  <a:cubicBezTo>
                    <a:pt x="1145" y="298"/>
                    <a:pt x="992" y="367"/>
                    <a:pt x="880" y="479"/>
                  </a:cubicBezTo>
                  <a:cubicBezTo>
                    <a:pt x="769" y="590"/>
                    <a:pt x="700" y="744"/>
                    <a:pt x="700" y="913"/>
                  </a:cubicBezTo>
                  <a:lnTo>
                    <a:pt x="700" y="1450"/>
                  </a:lnTo>
                  <a:lnTo>
                    <a:pt x="406" y="1450"/>
                  </a:lnTo>
                  <a:close/>
                  <a:moveTo>
                    <a:pt x="2231" y="1583"/>
                  </a:moveTo>
                  <a:lnTo>
                    <a:pt x="398" y="1583"/>
                  </a:lnTo>
                  <a:cubicBezTo>
                    <a:pt x="289" y="1583"/>
                    <a:pt x="190" y="1627"/>
                    <a:pt x="118" y="1700"/>
                  </a:cubicBezTo>
                  <a:cubicBezTo>
                    <a:pt x="46" y="1771"/>
                    <a:pt x="1" y="1870"/>
                    <a:pt x="1" y="1980"/>
                  </a:cubicBezTo>
                  <a:lnTo>
                    <a:pt x="1" y="2338"/>
                  </a:lnTo>
                  <a:lnTo>
                    <a:pt x="1057" y="2338"/>
                  </a:lnTo>
                  <a:lnTo>
                    <a:pt x="1306" y="2088"/>
                  </a:lnTo>
                  <a:lnTo>
                    <a:pt x="1315" y="2079"/>
                  </a:lnTo>
                  <a:lnTo>
                    <a:pt x="1344" y="2050"/>
                  </a:lnTo>
                  <a:lnTo>
                    <a:pt x="1386" y="2050"/>
                  </a:lnTo>
                  <a:lnTo>
                    <a:pt x="1398" y="2050"/>
                  </a:lnTo>
                  <a:lnTo>
                    <a:pt x="1779" y="2050"/>
                  </a:lnTo>
                  <a:cubicBezTo>
                    <a:pt x="1794" y="2018"/>
                    <a:pt x="1814" y="1990"/>
                    <a:pt x="1839" y="1965"/>
                  </a:cubicBezTo>
                  <a:cubicBezTo>
                    <a:pt x="1894" y="1910"/>
                    <a:pt x="1970" y="1876"/>
                    <a:pt x="2054" y="1876"/>
                  </a:cubicBezTo>
                  <a:cubicBezTo>
                    <a:pt x="2138" y="1876"/>
                    <a:pt x="2214" y="1910"/>
                    <a:pt x="2269" y="1965"/>
                  </a:cubicBezTo>
                  <a:cubicBezTo>
                    <a:pt x="2324" y="2020"/>
                    <a:pt x="2358" y="2096"/>
                    <a:pt x="2358" y="2180"/>
                  </a:cubicBezTo>
                  <a:cubicBezTo>
                    <a:pt x="2358" y="2264"/>
                    <a:pt x="2324" y="2340"/>
                    <a:pt x="2269" y="2395"/>
                  </a:cubicBezTo>
                  <a:cubicBezTo>
                    <a:pt x="2214" y="2450"/>
                    <a:pt x="2138" y="2484"/>
                    <a:pt x="2054" y="2484"/>
                  </a:cubicBezTo>
                  <a:cubicBezTo>
                    <a:pt x="1970" y="2484"/>
                    <a:pt x="1894" y="2450"/>
                    <a:pt x="1839" y="2395"/>
                  </a:cubicBezTo>
                  <a:cubicBezTo>
                    <a:pt x="1814" y="2371"/>
                    <a:pt x="1794" y="2342"/>
                    <a:pt x="1779" y="2310"/>
                  </a:cubicBezTo>
                  <a:lnTo>
                    <a:pt x="1452" y="2310"/>
                  </a:lnTo>
                  <a:lnTo>
                    <a:pt x="1202" y="2560"/>
                  </a:lnTo>
                  <a:lnTo>
                    <a:pt x="1194" y="2569"/>
                  </a:lnTo>
                  <a:lnTo>
                    <a:pt x="1164" y="2598"/>
                  </a:lnTo>
                  <a:lnTo>
                    <a:pt x="1123" y="2598"/>
                  </a:lnTo>
                  <a:lnTo>
                    <a:pt x="1110" y="2598"/>
                  </a:lnTo>
                  <a:lnTo>
                    <a:pt x="1" y="2598"/>
                  </a:lnTo>
                  <a:lnTo>
                    <a:pt x="1" y="2766"/>
                  </a:lnTo>
                  <a:lnTo>
                    <a:pt x="1779" y="2766"/>
                  </a:lnTo>
                  <a:cubicBezTo>
                    <a:pt x="1794" y="2734"/>
                    <a:pt x="1814" y="2706"/>
                    <a:pt x="1839" y="2681"/>
                  </a:cubicBezTo>
                  <a:cubicBezTo>
                    <a:pt x="1894" y="2626"/>
                    <a:pt x="1970" y="2592"/>
                    <a:pt x="2054" y="2592"/>
                  </a:cubicBezTo>
                  <a:cubicBezTo>
                    <a:pt x="2138" y="2592"/>
                    <a:pt x="2214" y="2626"/>
                    <a:pt x="2269" y="2681"/>
                  </a:cubicBezTo>
                  <a:cubicBezTo>
                    <a:pt x="2324" y="2736"/>
                    <a:pt x="2358" y="2812"/>
                    <a:pt x="2358" y="2896"/>
                  </a:cubicBezTo>
                  <a:cubicBezTo>
                    <a:pt x="2358" y="2980"/>
                    <a:pt x="2324" y="3056"/>
                    <a:pt x="2269" y="3111"/>
                  </a:cubicBezTo>
                  <a:cubicBezTo>
                    <a:pt x="2214" y="3166"/>
                    <a:pt x="2138" y="3200"/>
                    <a:pt x="2054" y="3200"/>
                  </a:cubicBezTo>
                  <a:cubicBezTo>
                    <a:pt x="1970" y="3200"/>
                    <a:pt x="1894" y="3166"/>
                    <a:pt x="1839" y="3111"/>
                  </a:cubicBezTo>
                  <a:cubicBezTo>
                    <a:pt x="1814" y="3087"/>
                    <a:pt x="1794" y="3058"/>
                    <a:pt x="1779" y="3026"/>
                  </a:cubicBezTo>
                  <a:lnTo>
                    <a:pt x="1" y="3026"/>
                  </a:lnTo>
                  <a:lnTo>
                    <a:pt x="1" y="3194"/>
                  </a:lnTo>
                  <a:lnTo>
                    <a:pt x="1110" y="3194"/>
                  </a:lnTo>
                  <a:lnTo>
                    <a:pt x="1123" y="3194"/>
                  </a:lnTo>
                  <a:lnTo>
                    <a:pt x="1164" y="3194"/>
                  </a:lnTo>
                  <a:lnTo>
                    <a:pt x="1194" y="3223"/>
                  </a:lnTo>
                  <a:lnTo>
                    <a:pt x="1202" y="3232"/>
                  </a:lnTo>
                  <a:lnTo>
                    <a:pt x="1452" y="3482"/>
                  </a:lnTo>
                  <a:lnTo>
                    <a:pt x="1779" y="3482"/>
                  </a:lnTo>
                  <a:cubicBezTo>
                    <a:pt x="1794" y="3450"/>
                    <a:pt x="1814" y="3421"/>
                    <a:pt x="1839" y="3397"/>
                  </a:cubicBezTo>
                  <a:cubicBezTo>
                    <a:pt x="1894" y="3342"/>
                    <a:pt x="1970" y="3308"/>
                    <a:pt x="2054" y="3308"/>
                  </a:cubicBezTo>
                  <a:cubicBezTo>
                    <a:pt x="2138" y="3308"/>
                    <a:pt x="2214" y="3342"/>
                    <a:pt x="2269" y="3397"/>
                  </a:cubicBezTo>
                  <a:cubicBezTo>
                    <a:pt x="2324" y="3452"/>
                    <a:pt x="2358" y="3528"/>
                    <a:pt x="2358" y="3612"/>
                  </a:cubicBezTo>
                  <a:cubicBezTo>
                    <a:pt x="2358" y="3696"/>
                    <a:pt x="2324" y="3772"/>
                    <a:pt x="2269" y="3827"/>
                  </a:cubicBezTo>
                  <a:cubicBezTo>
                    <a:pt x="2214" y="3882"/>
                    <a:pt x="2138" y="3916"/>
                    <a:pt x="2054" y="3916"/>
                  </a:cubicBezTo>
                  <a:cubicBezTo>
                    <a:pt x="1970" y="3916"/>
                    <a:pt x="1894" y="3882"/>
                    <a:pt x="1839" y="3827"/>
                  </a:cubicBezTo>
                  <a:cubicBezTo>
                    <a:pt x="1814" y="3802"/>
                    <a:pt x="1794" y="3774"/>
                    <a:pt x="1779" y="3742"/>
                  </a:cubicBezTo>
                  <a:lnTo>
                    <a:pt x="1398" y="3742"/>
                  </a:lnTo>
                  <a:lnTo>
                    <a:pt x="1386" y="3742"/>
                  </a:lnTo>
                  <a:lnTo>
                    <a:pt x="1344" y="3742"/>
                  </a:lnTo>
                  <a:lnTo>
                    <a:pt x="1315" y="3713"/>
                  </a:lnTo>
                  <a:lnTo>
                    <a:pt x="1306" y="3704"/>
                  </a:lnTo>
                  <a:lnTo>
                    <a:pt x="1057" y="3454"/>
                  </a:lnTo>
                  <a:lnTo>
                    <a:pt x="1" y="3454"/>
                  </a:lnTo>
                  <a:lnTo>
                    <a:pt x="1" y="3812"/>
                  </a:lnTo>
                  <a:cubicBezTo>
                    <a:pt x="1" y="3921"/>
                    <a:pt x="46" y="4021"/>
                    <a:pt x="118" y="4093"/>
                  </a:cubicBezTo>
                  <a:cubicBezTo>
                    <a:pt x="190" y="4164"/>
                    <a:pt x="289" y="4209"/>
                    <a:pt x="398" y="4209"/>
                  </a:cubicBezTo>
                  <a:lnTo>
                    <a:pt x="2231" y="4209"/>
                  </a:lnTo>
                  <a:cubicBezTo>
                    <a:pt x="2340" y="4209"/>
                    <a:pt x="2439" y="4164"/>
                    <a:pt x="2511" y="4093"/>
                  </a:cubicBezTo>
                  <a:cubicBezTo>
                    <a:pt x="2583" y="4021"/>
                    <a:pt x="2628" y="3921"/>
                    <a:pt x="2628" y="3812"/>
                  </a:cubicBezTo>
                  <a:lnTo>
                    <a:pt x="2628" y="1980"/>
                  </a:lnTo>
                  <a:cubicBezTo>
                    <a:pt x="2628" y="1870"/>
                    <a:pt x="2583" y="1771"/>
                    <a:pt x="2511" y="1700"/>
                  </a:cubicBezTo>
                  <a:cubicBezTo>
                    <a:pt x="2439" y="1627"/>
                    <a:pt x="2340" y="1583"/>
                    <a:pt x="2231" y="1583"/>
                  </a:cubicBezTo>
                  <a:lnTo>
                    <a:pt x="2231" y="1583"/>
                  </a:lnTo>
                </a:path>
              </a:pathLst>
            </a:custGeom>
            <a:solidFill>
              <a:srgbClr val="5B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759" name="Distribu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D4DAF60-E093-4183-B58C-3A19FC534B27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3394225" y="4183734"/>
              <a:ext cx="555724" cy="542925"/>
              <a:chOff x="5202795" y="214856"/>
              <a:chExt cx="683543" cy="667800"/>
            </a:xfrm>
            <a:solidFill>
              <a:srgbClr val="70AD47"/>
            </a:solidFill>
          </p:grpSpPr>
          <p:sp>
            <p:nvSpPr>
              <p:cNvPr id="760" name="Freeform 11">
                <a:extLst>
                  <a:ext uri="{FF2B5EF4-FFF2-40B4-BE49-F238E27FC236}">
                    <a16:creationId xmlns:a16="http://schemas.microsoft.com/office/drawing/2014/main" id="{AE0ECF00-BB74-4191-8CAF-61474C4CA0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2795" y="214856"/>
                <a:ext cx="674360" cy="667800"/>
              </a:xfrm>
              <a:custGeom>
                <a:avLst/>
                <a:gdLst>
                  <a:gd name="T0" fmla="*/ 3844 w 4927"/>
                  <a:gd name="T1" fmla="*/ 4076 h 4864"/>
                  <a:gd name="T2" fmla="*/ 2484 w 4927"/>
                  <a:gd name="T3" fmla="*/ 358 h 4864"/>
                  <a:gd name="T4" fmla="*/ 2927 w 4927"/>
                  <a:gd name="T5" fmla="*/ 358 h 4864"/>
                  <a:gd name="T6" fmla="*/ 497 w 4927"/>
                  <a:gd name="T7" fmla="*/ 4478 h 4864"/>
                  <a:gd name="T8" fmla="*/ 2572 w 4927"/>
                  <a:gd name="T9" fmla="*/ 2477 h 4864"/>
                  <a:gd name="T10" fmla="*/ 2553 w 4927"/>
                  <a:gd name="T11" fmla="*/ 2471 h 4864"/>
                  <a:gd name="T12" fmla="*/ 2525 w 4927"/>
                  <a:gd name="T13" fmla="*/ 2464 h 4864"/>
                  <a:gd name="T14" fmla="*/ 2496 w 4927"/>
                  <a:gd name="T15" fmla="*/ 2458 h 4864"/>
                  <a:gd name="T16" fmla="*/ 2465 w 4927"/>
                  <a:gd name="T17" fmla="*/ 2455 h 4864"/>
                  <a:gd name="T18" fmla="*/ 2434 w 4927"/>
                  <a:gd name="T19" fmla="*/ 2454 h 4864"/>
                  <a:gd name="T20" fmla="*/ 2412 w 4927"/>
                  <a:gd name="T21" fmla="*/ 2454 h 4864"/>
                  <a:gd name="T22" fmla="*/ 2391 w 4927"/>
                  <a:gd name="T23" fmla="*/ 2456 h 4864"/>
                  <a:gd name="T24" fmla="*/ 2177 w 4927"/>
                  <a:gd name="T25" fmla="*/ 2544 h 4864"/>
                  <a:gd name="T26" fmla="*/ 2162 w 4927"/>
                  <a:gd name="T27" fmla="*/ 2556 h 4864"/>
                  <a:gd name="T28" fmla="*/ 2146 w 4927"/>
                  <a:gd name="T29" fmla="*/ 2570 h 4864"/>
                  <a:gd name="T30" fmla="*/ 2126 w 4927"/>
                  <a:gd name="T31" fmla="*/ 2591 h 4864"/>
                  <a:gd name="T32" fmla="*/ 2112 w 4927"/>
                  <a:gd name="T33" fmla="*/ 2608 h 4864"/>
                  <a:gd name="T34" fmla="*/ 2069 w 4927"/>
                  <a:gd name="T35" fmla="*/ 2674 h 4864"/>
                  <a:gd name="T36" fmla="*/ 2055 w 4927"/>
                  <a:gd name="T37" fmla="*/ 3027 h 4864"/>
                  <a:gd name="T38" fmla="*/ 2067 w 4927"/>
                  <a:gd name="T39" fmla="*/ 3054 h 4864"/>
                  <a:gd name="T40" fmla="*/ 2082 w 4927"/>
                  <a:gd name="T41" fmla="*/ 3081 h 4864"/>
                  <a:gd name="T42" fmla="*/ 2099 w 4927"/>
                  <a:gd name="T43" fmla="*/ 3105 h 4864"/>
                  <a:gd name="T44" fmla="*/ 2117 w 4927"/>
                  <a:gd name="T45" fmla="*/ 3129 h 4864"/>
                  <a:gd name="T46" fmla="*/ 2137 w 4927"/>
                  <a:gd name="T47" fmla="*/ 3152 h 4864"/>
                  <a:gd name="T48" fmla="*/ 2154 w 4927"/>
                  <a:gd name="T49" fmla="*/ 3169 h 4864"/>
                  <a:gd name="T50" fmla="*/ 2324 w 4927"/>
                  <a:gd name="T51" fmla="*/ 3263 h 4864"/>
                  <a:gd name="T52" fmla="*/ 2337 w 4927"/>
                  <a:gd name="T53" fmla="*/ 3267 h 4864"/>
                  <a:gd name="T54" fmla="*/ 2353 w 4927"/>
                  <a:gd name="T55" fmla="*/ 3270 h 4864"/>
                  <a:gd name="T56" fmla="*/ 2382 w 4927"/>
                  <a:gd name="T57" fmla="*/ 3275 h 4864"/>
                  <a:gd name="T58" fmla="*/ 2413 w 4927"/>
                  <a:gd name="T59" fmla="*/ 3277 h 4864"/>
                  <a:gd name="T60" fmla="*/ 2445 w 4927"/>
                  <a:gd name="T61" fmla="*/ 3278 h 4864"/>
                  <a:gd name="T62" fmla="*/ 2477 w 4927"/>
                  <a:gd name="T63" fmla="*/ 3276 h 4864"/>
                  <a:gd name="T64" fmla="*/ 2508 w 4927"/>
                  <a:gd name="T65" fmla="*/ 3271 h 4864"/>
                  <a:gd name="T66" fmla="*/ 2755 w 4927"/>
                  <a:gd name="T67" fmla="*/ 3124 h 4864"/>
                  <a:gd name="T68" fmla="*/ 2772 w 4927"/>
                  <a:gd name="T69" fmla="*/ 3102 h 4864"/>
                  <a:gd name="T70" fmla="*/ 2782 w 4927"/>
                  <a:gd name="T71" fmla="*/ 3086 h 4864"/>
                  <a:gd name="T72" fmla="*/ 2798 w 4927"/>
                  <a:gd name="T73" fmla="*/ 3059 h 4864"/>
                  <a:gd name="T74" fmla="*/ 2808 w 4927"/>
                  <a:gd name="T75" fmla="*/ 3038 h 4864"/>
                  <a:gd name="T76" fmla="*/ 2845 w 4927"/>
                  <a:gd name="T77" fmla="*/ 2885 h 4864"/>
                  <a:gd name="T78" fmla="*/ 2845 w 4927"/>
                  <a:gd name="T79" fmla="*/ 2878 h 4864"/>
                  <a:gd name="T80" fmla="*/ 2845 w 4927"/>
                  <a:gd name="T81" fmla="*/ 2845 h 4864"/>
                  <a:gd name="T82" fmla="*/ 2844 w 4927"/>
                  <a:gd name="T83" fmla="*/ 2824 h 4864"/>
                  <a:gd name="T84" fmla="*/ 2839 w 4927"/>
                  <a:gd name="T85" fmla="*/ 2793 h 4864"/>
                  <a:gd name="T86" fmla="*/ 2835 w 4927"/>
                  <a:gd name="T87" fmla="*/ 2774 h 4864"/>
                  <a:gd name="T88" fmla="*/ 2827 w 4927"/>
                  <a:gd name="T89" fmla="*/ 2744 h 4864"/>
                  <a:gd name="T90" fmla="*/ 2818 w 4927"/>
                  <a:gd name="T91" fmla="*/ 2716 h 4864"/>
                  <a:gd name="T92" fmla="*/ 2580 w 4927"/>
                  <a:gd name="T93" fmla="*/ 2481 h 4864"/>
                  <a:gd name="T94" fmla="*/ 2126 w 4927"/>
                  <a:gd name="T95" fmla="*/ 580 h 4864"/>
                  <a:gd name="T96" fmla="*/ 2737 w 4927"/>
                  <a:gd name="T97" fmla="*/ 1159 h 4864"/>
                  <a:gd name="T98" fmla="*/ 4927 w 4927"/>
                  <a:gd name="T99" fmla="*/ 2461 h 4864"/>
                  <a:gd name="T100" fmla="*/ 3655 w 4927"/>
                  <a:gd name="T101" fmla="*/ 3674 h 4864"/>
                  <a:gd name="T102" fmla="*/ 3610 w 4927"/>
                  <a:gd name="T103" fmla="*/ 4179 h 4864"/>
                  <a:gd name="T104" fmla="*/ 2467 w 4927"/>
                  <a:gd name="T105" fmla="*/ 4291 h 4864"/>
                  <a:gd name="T106" fmla="*/ 2056 w 4927"/>
                  <a:gd name="T107" fmla="*/ 4566 h 4864"/>
                  <a:gd name="T108" fmla="*/ 955 w 4927"/>
                  <a:gd name="T109" fmla="*/ 3991 h 4864"/>
                  <a:gd name="T110" fmla="*/ 146 w 4927"/>
                  <a:gd name="T111" fmla="*/ 3831 h 4864"/>
                  <a:gd name="T112" fmla="*/ 1125 w 4927"/>
                  <a:gd name="T113" fmla="*/ 1884 h 4864"/>
                  <a:gd name="T114" fmla="*/ 1186 w 4927"/>
                  <a:gd name="T115" fmla="*/ 1417 h 4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927" h="4864">
                    <a:moveTo>
                      <a:pt x="3937" y="3853"/>
                    </a:moveTo>
                    <a:cubicBezTo>
                      <a:pt x="3913" y="3829"/>
                      <a:pt x="3880" y="3814"/>
                      <a:pt x="3844" y="3814"/>
                    </a:cubicBezTo>
                    <a:cubicBezTo>
                      <a:pt x="3808" y="3814"/>
                      <a:pt x="3776" y="3829"/>
                      <a:pt x="3752" y="3853"/>
                    </a:cubicBezTo>
                    <a:cubicBezTo>
                      <a:pt x="3728" y="3876"/>
                      <a:pt x="3714" y="3909"/>
                      <a:pt x="3714" y="3945"/>
                    </a:cubicBezTo>
                    <a:cubicBezTo>
                      <a:pt x="3714" y="3981"/>
                      <a:pt x="3728" y="4014"/>
                      <a:pt x="3752" y="4038"/>
                    </a:cubicBezTo>
                    <a:cubicBezTo>
                      <a:pt x="3776" y="4061"/>
                      <a:pt x="3808" y="4076"/>
                      <a:pt x="3844" y="4076"/>
                    </a:cubicBezTo>
                    <a:cubicBezTo>
                      <a:pt x="3880" y="4076"/>
                      <a:pt x="3913" y="4061"/>
                      <a:pt x="3937" y="4038"/>
                    </a:cubicBezTo>
                    <a:cubicBezTo>
                      <a:pt x="3960" y="4014"/>
                      <a:pt x="3975" y="3981"/>
                      <a:pt x="3975" y="3945"/>
                    </a:cubicBezTo>
                    <a:cubicBezTo>
                      <a:pt x="3975" y="3909"/>
                      <a:pt x="3960" y="3876"/>
                      <a:pt x="3937" y="3853"/>
                    </a:cubicBezTo>
                    <a:close/>
                    <a:moveTo>
                      <a:pt x="2927" y="358"/>
                    </a:moveTo>
                    <a:cubicBezTo>
                      <a:pt x="2871" y="302"/>
                      <a:pt x="2792" y="267"/>
                      <a:pt x="2706" y="267"/>
                    </a:cubicBezTo>
                    <a:cubicBezTo>
                      <a:pt x="2619" y="267"/>
                      <a:pt x="2541" y="302"/>
                      <a:pt x="2484" y="358"/>
                    </a:cubicBezTo>
                    <a:cubicBezTo>
                      <a:pt x="2428" y="415"/>
                      <a:pt x="2393" y="493"/>
                      <a:pt x="2393" y="580"/>
                    </a:cubicBezTo>
                    <a:cubicBezTo>
                      <a:pt x="2393" y="666"/>
                      <a:pt x="2428" y="745"/>
                      <a:pt x="2484" y="801"/>
                    </a:cubicBezTo>
                    <a:cubicBezTo>
                      <a:pt x="2541" y="858"/>
                      <a:pt x="2619" y="893"/>
                      <a:pt x="2706" y="893"/>
                    </a:cubicBezTo>
                    <a:cubicBezTo>
                      <a:pt x="2792" y="893"/>
                      <a:pt x="2871" y="858"/>
                      <a:pt x="2927" y="801"/>
                    </a:cubicBezTo>
                    <a:cubicBezTo>
                      <a:pt x="2984" y="745"/>
                      <a:pt x="3019" y="666"/>
                      <a:pt x="3019" y="580"/>
                    </a:cubicBezTo>
                    <a:cubicBezTo>
                      <a:pt x="3019" y="493"/>
                      <a:pt x="2984" y="415"/>
                      <a:pt x="2927" y="358"/>
                    </a:cubicBezTo>
                    <a:close/>
                    <a:moveTo>
                      <a:pt x="706" y="3972"/>
                    </a:moveTo>
                    <a:cubicBezTo>
                      <a:pt x="653" y="3919"/>
                      <a:pt x="578" y="3886"/>
                      <a:pt x="497" y="3886"/>
                    </a:cubicBezTo>
                    <a:cubicBezTo>
                      <a:pt x="415" y="3886"/>
                      <a:pt x="341" y="3919"/>
                      <a:pt x="287" y="3972"/>
                    </a:cubicBezTo>
                    <a:cubicBezTo>
                      <a:pt x="234" y="4026"/>
                      <a:pt x="200" y="4100"/>
                      <a:pt x="200" y="4182"/>
                    </a:cubicBezTo>
                    <a:cubicBezTo>
                      <a:pt x="200" y="4264"/>
                      <a:pt x="234" y="4338"/>
                      <a:pt x="287" y="4391"/>
                    </a:cubicBezTo>
                    <a:cubicBezTo>
                      <a:pt x="341" y="4445"/>
                      <a:pt x="415" y="4478"/>
                      <a:pt x="497" y="4478"/>
                    </a:cubicBezTo>
                    <a:cubicBezTo>
                      <a:pt x="578" y="4478"/>
                      <a:pt x="653" y="4445"/>
                      <a:pt x="706" y="4391"/>
                    </a:cubicBezTo>
                    <a:cubicBezTo>
                      <a:pt x="760" y="4338"/>
                      <a:pt x="793" y="4264"/>
                      <a:pt x="793" y="4182"/>
                    </a:cubicBezTo>
                    <a:cubicBezTo>
                      <a:pt x="793" y="4100"/>
                      <a:pt x="760" y="4026"/>
                      <a:pt x="706" y="3972"/>
                    </a:cubicBezTo>
                    <a:close/>
                    <a:moveTo>
                      <a:pt x="2578" y="2480"/>
                    </a:moveTo>
                    <a:cubicBezTo>
                      <a:pt x="2576" y="2479"/>
                      <a:pt x="2574" y="2478"/>
                      <a:pt x="2572" y="2478"/>
                    </a:cubicBezTo>
                    <a:lnTo>
                      <a:pt x="2572" y="2477"/>
                    </a:lnTo>
                    <a:lnTo>
                      <a:pt x="2569" y="2477"/>
                    </a:lnTo>
                    <a:lnTo>
                      <a:pt x="2569" y="2477"/>
                    </a:lnTo>
                    <a:cubicBezTo>
                      <a:pt x="2567" y="2476"/>
                      <a:pt x="2565" y="2475"/>
                      <a:pt x="2563" y="2474"/>
                    </a:cubicBezTo>
                    <a:lnTo>
                      <a:pt x="2561" y="2474"/>
                    </a:lnTo>
                    <a:lnTo>
                      <a:pt x="2559" y="2473"/>
                    </a:lnTo>
                    <a:cubicBezTo>
                      <a:pt x="2557" y="2473"/>
                      <a:pt x="2555" y="2472"/>
                      <a:pt x="2553" y="2471"/>
                    </a:cubicBezTo>
                    <a:lnTo>
                      <a:pt x="2550" y="2470"/>
                    </a:lnTo>
                    <a:cubicBezTo>
                      <a:pt x="2548" y="2470"/>
                      <a:pt x="2546" y="2469"/>
                      <a:pt x="2544" y="2469"/>
                    </a:cubicBezTo>
                    <a:lnTo>
                      <a:pt x="2539" y="2467"/>
                    </a:lnTo>
                    <a:lnTo>
                      <a:pt x="2534" y="2466"/>
                    </a:lnTo>
                    <a:cubicBezTo>
                      <a:pt x="2532" y="2466"/>
                      <a:pt x="2531" y="2465"/>
                      <a:pt x="2529" y="2465"/>
                    </a:cubicBezTo>
                    <a:lnTo>
                      <a:pt x="2525" y="2464"/>
                    </a:lnTo>
                    <a:cubicBezTo>
                      <a:pt x="2523" y="2464"/>
                      <a:pt x="2521" y="2463"/>
                      <a:pt x="2519" y="2463"/>
                    </a:cubicBezTo>
                    <a:lnTo>
                      <a:pt x="2515" y="2462"/>
                    </a:lnTo>
                    <a:cubicBezTo>
                      <a:pt x="2513" y="2461"/>
                      <a:pt x="2511" y="2461"/>
                      <a:pt x="2508" y="2461"/>
                    </a:cubicBezTo>
                    <a:lnTo>
                      <a:pt x="2505" y="2460"/>
                    </a:lnTo>
                    <a:cubicBezTo>
                      <a:pt x="2503" y="2460"/>
                      <a:pt x="2500" y="2459"/>
                      <a:pt x="2497" y="2459"/>
                    </a:cubicBezTo>
                    <a:lnTo>
                      <a:pt x="2496" y="2458"/>
                    </a:lnTo>
                    <a:cubicBezTo>
                      <a:pt x="2493" y="2458"/>
                      <a:pt x="2490" y="2458"/>
                      <a:pt x="2487" y="2457"/>
                    </a:cubicBezTo>
                    <a:lnTo>
                      <a:pt x="2486" y="2457"/>
                    </a:lnTo>
                    <a:cubicBezTo>
                      <a:pt x="2483" y="2457"/>
                      <a:pt x="2480" y="2456"/>
                      <a:pt x="2477" y="2456"/>
                    </a:cubicBezTo>
                    <a:lnTo>
                      <a:pt x="2475" y="2456"/>
                    </a:lnTo>
                    <a:cubicBezTo>
                      <a:pt x="2472" y="2455"/>
                      <a:pt x="2469" y="2455"/>
                      <a:pt x="2466" y="2455"/>
                    </a:cubicBezTo>
                    <a:lnTo>
                      <a:pt x="2465" y="2455"/>
                    </a:lnTo>
                    <a:cubicBezTo>
                      <a:pt x="2462" y="2455"/>
                      <a:pt x="2459" y="2455"/>
                      <a:pt x="2455" y="2454"/>
                    </a:cubicBezTo>
                    <a:lnTo>
                      <a:pt x="2455" y="2454"/>
                    </a:lnTo>
                    <a:lnTo>
                      <a:pt x="2454" y="2454"/>
                    </a:lnTo>
                    <a:cubicBezTo>
                      <a:pt x="2451" y="2454"/>
                      <a:pt x="2448" y="2454"/>
                      <a:pt x="2445" y="2454"/>
                    </a:cubicBezTo>
                    <a:lnTo>
                      <a:pt x="2444" y="2454"/>
                    </a:lnTo>
                    <a:cubicBezTo>
                      <a:pt x="2440" y="2454"/>
                      <a:pt x="2437" y="2454"/>
                      <a:pt x="2434" y="2454"/>
                    </a:cubicBezTo>
                    <a:cubicBezTo>
                      <a:pt x="2430" y="2454"/>
                      <a:pt x="2427" y="2454"/>
                      <a:pt x="2424" y="2454"/>
                    </a:cubicBezTo>
                    <a:lnTo>
                      <a:pt x="2423" y="2454"/>
                    </a:lnTo>
                    <a:lnTo>
                      <a:pt x="2423" y="2454"/>
                    </a:lnTo>
                    <a:lnTo>
                      <a:pt x="2423" y="2454"/>
                    </a:lnTo>
                    <a:cubicBezTo>
                      <a:pt x="2419" y="2454"/>
                      <a:pt x="2416" y="2454"/>
                      <a:pt x="2413" y="2454"/>
                    </a:cubicBezTo>
                    <a:lnTo>
                      <a:pt x="2412" y="2454"/>
                    </a:lnTo>
                    <a:lnTo>
                      <a:pt x="2412" y="2454"/>
                    </a:lnTo>
                    <a:lnTo>
                      <a:pt x="2412" y="2454"/>
                    </a:lnTo>
                    <a:cubicBezTo>
                      <a:pt x="2409" y="2455"/>
                      <a:pt x="2406" y="2455"/>
                      <a:pt x="2402" y="2455"/>
                    </a:cubicBezTo>
                    <a:lnTo>
                      <a:pt x="2401" y="2455"/>
                    </a:lnTo>
                    <a:cubicBezTo>
                      <a:pt x="2398" y="2455"/>
                      <a:pt x="2395" y="2455"/>
                      <a:pt x="2392" y="2456"/>
                    </a:cubicBezTo>
                    <a:lnTo>
                      <a:pt x="2391" y="2456"/>
                    </a:lnTo>
                    <a:cubicBezTo>
                      <a:pt x="2318" y="2464"/>
                      <a:pt x="2250" y="2490"/>
                      <a:pt x="2194" y="2531"/>
                    </a:cubicBezTo>
                    <a:lnTo>
                      <a:pt x="2193" y="2531"/>
                    </a:lnTo>
                    <a:lnTo>
                      <a:pt x="2189" y="2534"/>
                    </a:lnTo>
                    <a:lnTo>
                      <a:pt x="2185" y="2537"/>
                    </a:lnTo>
                    <a:lnTo>
                      <a:pt x="2182" y="2540"/>
                    </a:lnTo>
                    <a:cubicBezTo>
                      <a:pt x="2180" y="2541"/>
                      <a:pt x="2178" y="2542"/>
                      <a:pt x="2177" y="2544"/>
                    </a:cubicBezTo>
                    <a:lnTo>
                      <a:pt x="2174" y="2546"/>
                    </a:lnTo>
                    <a:lnTo>
                      <a:pt x="2169" y="2550"/>
                    </a:lnTo>
                    <a:lnTo>
                      <a:pt x="2169" y="2550"/>
                    </a:lnTo>
                    <a:lnTo>
                      <a:pt x="2166" y="2552"/>
                    </a:lnTo>
                    <a:lnTo>
                      <a:pt x="2166" y="2552"/>
                    </a:lnTo>
                    <a:lnTo>
                      <a:pt x="2162" y="2556"/>
                    </a:lnTo>
                    <a:lnTo>
                      <a:pt x="2162" y="2556"/>
                    </a:lnTo>
                    <a:lnTo>
                      <a:pt x="2159" y="2558"/>
                    </a:lnTo>
                    <a:lnTo>
                      <a:pt x="2159" y="2558"/>
                    </a:lnTo>
                    <a:cubicBezTo>
                      <a:pt x="2157" y="2560"/>
                      <a:pt x="2156" y="2562"/>
                      <a:pt x="2154" y="2563"/>
                    </a:cubicBezTo>
                    <a:lnTo>
                      <a:pt x="2152" y="2565"/>
                    </a:lnTo>
                    <a:cubicBezTo>
                      <a:pt x="2150" y="2567"/>
                      <a:pt x="2148" y="2569"/>
                      <a:pt x="2146" y="2570"/>
                    </a:cubicBezTo>
                    <a:lnTo>
                      <a:pt x="2145" y="2572"/>
                    </a:lnTo>
                    <a:cubicBezTo>
                      <a:pt x="2143" y="2574"/>
                      <a:pt x="2142" y="2575"/>
                      <a:pt x="2140" y="2577"/>
                    </a:cubicBezTo>
                    <a:lnTo>
                      <a:pt x="2138" y="2579"/>
                    </a:lnTo>
                    <a:cubicBezTo>
                      <a:pt x="2136" y="2581"/>
                      <a:pt x="2134" y="2583"/>
                      <a:pt x="2133" y="2584"/>
                    </a:cubicBezTo>
                    <a:lnTo>
                      <a:pt x="2132" y="2585"/>
                    </a:lnTo>
                    <a:cubicBezTo>
                      <a:pt x="2130" y="2587"/>
                      <a:pt x="2128" y="2589"/>
                      <a:pt x="2126" y="2591"/>
                    </a:cubicBezTo>
                    <a:lnTo>
                      <a:pt x="2125" y="2593"/>
                    </a:lnTo>
                    <a:lnTo>
                      <a:pt x="2120" y="2599"/>
                    </a:lnTo>
                    <a:lnTo>
                      <a:pt x="2118" y="2601"/>
                    </a:lnTo>
                    <a:cubicBezTo>
                      <a:pt x="2116" y="2603"/>
                      <a:pt x="2115" y="2605"/>
                      <a:pt x="2114" y="2606"/>
                    </a:cubicBezTo>
                    <a:lnTo>
                      <a:pt x="2112" y="2608"/>
                    </a:lnTo>
                    <a:lnTo>
                      <a:pt x="2112" y="2608"/>
                    </a:lnTo>
                    <a:cubicBezTo>
                      <a:pt x="2108" y="2613"/>
                      <a:pt x="2104" y="2618"/>
                      <a:pt x="2101" y="2623"/>
                    </a:cubicBezTo>
                    <a:lnTo>
                      <a:pt x="2100" y="2624"/>
                    </a:lnTo>
                    <a:cubicBezTo>
                      <a:pt x="2095" y="2631"/>
                      <a:pt x="2089" y="2639"/>
                      <a:pt x="2084" y="2647"/>
                    </a:cubicBezTo>
                    <a:lnTo>
                      <a:pt x="2083" y="2650"/>
                    </a:lnTo>
                    <a:cubicBezTo>
                      <a:pt x="2078" y="2658"/>
                      <a:pt x="2073" y="2666"/>
                      <a:pt x="2069" y="2674"/>
                    </a:cubicBezTo>
                    <a:lnTo>
                      <a:pt x="2069" y="2674"/>
                    </a:lnTo>
                    <a:cubicBezTo>
                      <a:pt x="2067" y="2677"/>
                      <a:pt x="2066" y="2680"/>
                      <a:pt x="2064" y="2683"/>
                    </a:cubicBezTo>
                    <a:cubicBezTo>
                      <a:pt x="2037" y="2738"/>
                      <a:pt x="2022" y="2800"/>
                      <a:pt x="2022" y="2866"/>
                    </a:cubicBezTo>
                    <a:cubicBezTo>
                      <a:pt x="2022" y="2919"/>
                      <a:pt x="2032" y="2969"/>
                      <a:pt x="2050" y="3016"/>
                    </a:cubicBezTo>
                    <a:lnTo>
                      <a:pt x="2051" y="3018"/>
                    </a:lnTo>
                    <a:cubicBezTo>
                      <a:pt x="2052" y="3020"/>
                      <a:pt x="2053" y="3023"/>
                      <a:pt x="2054" y="3025"/>
                    </a:cubicBezTo>
                    <a:lnTo>
                      <a:pt x="2055" y="3027"/>
                    </a:lnTo>
                    <a:cubicBezTo>
                      <a:pt x="2056" y="3030"/>
                      <a:pt x="2057" y="3032"/>
                      <a:pt x="2058" y="3034"/>
                    </a:cubicBezTo>
                    <a:lnTo>
                      <a:pt x="2059" y="3036"/>
                    </a:lnTo>
                    <a:cubicBezTo>
                      <a:pt x="2060" y="3039"/>
                      <a:pt x="2061" y="3041"/>
                      <a:pt x="2062" y="3044"/>
                    </a:cubicBezTo>
                    <a:lnTo>
                      <a:pt x="2063" y="3045"/>
                    </a:lnTo>
                    <a:cubicBezTo>
                      <a:pt x="2064" y="3048"/>
                      <a:pt x="2065" y="3050"/>
                      <a:pt x="2066" y="3052"/>
                    </a:cubicBezTo>
                    <a:lnTo>
                      <a:pt x="2067" y="3054"/>
                    </a:lnTo>
                    <a:cubicBezTo>
                      <a:pt x="2068" y="3056"/>
                      <a:pt x="2070" y="3059"/>
                      <a:pt x="2071" y="3061"/>
                    </a:cubicBezTo>
                    <a:lnTo>
                      <a:pt x="2072" y="3063"/>
                    </a:lnTo>
                    <a:cubicBezTo>
                      <a:pt x="2073" y="3065"/>
                      <a:pt x="2074" y="3067"/>
                      <a:pt x="2076" y="3070"/>
                    </a:cubicBezTo>
                    <a:lnTo>
                      <a:pt x="2077" y="3072"/>
                    </a:lnTo>
                    <a:cubicBezTo>
                      <a:pt x="2078" y="3074"/>
                      <a:pt x="2079" y="3076"/>
                      <a:pt x="2081" y="3078"/>
                    </a:cubicBezTo>
                    <a:lnTo>
                      <a:pt x="2082" y="3081"/>
                    </a:lnTo>
                    <a:cubicBezTo>
                      <a:pt x="2083" y="3083"/>
                      <a:pt x="2084" y="3085"/>
                      <a:pt x="2086" y="3087"/>
                    </a:cubicBezTo>
                    <a:lnTo>
                      <a:pt x="2087" y="3089"/>
                    </a:lnTo>
                    <a:cubicBezTo>
                      <a:pt x="2089" y="3091"/>
                      <a:pt x="2090" y="3093"/>
                      <a:pt x="2091" y="3095"/>
                    </a:cubicBezTo>
                    <a:lnTo>
                      <a:pt x="2093" y="3097"/>
                    </a:lnTo>
                    <a:cubicBezTo>
                      <a:pt x="2094" y="3099"/>
                      <a:pt x="2095" y="3101"/>
                      <a:pt x="2097" y="3103"/>
                    </a:cubicBezTo>
                    <a:lnTo>
                      <a:pt x="2099" y="3105"/>
                    </a:lnTo>
                    <a:cubicBezTo>
                      <a:pt x="2100" y="3107"/>
                      <a:pt x="2101" y="3109"/>
                      <a:pt x="2103" y="3111"/>
                    </a:cubicBezTo>
                    <a:lnTo>
                      <a:pt x="2104" y="3114"/>
                    </a:lnTo>
                    <a:cubicBezTo>
                      <a:pt x="2106" y="3115"/>
                      <a:pt x="2107" y="3117"/>
                      <a:pt x="2108" y="3119"/>
                    </a:cubicBezTo>
                    <a:lnTo>
                      <a:pt x="2111" y="3122"/>
                    </a:lnTo>
                    <a:cubicBezTo>
                      <a:pt x="2112" y="3123"/>
                      <a:pt x="2113" y="3125"/>
                      <a:pt x="2114" y="3126"/>
                    </a:cubicBezTo>
                    <a:lnTo>
                      <a:pt x="2117" y="3129"/>
                    </a:lnTo>
                    <a:lnTo>
                      <a:pt x="2121" y="3134"/>
                    </a:lnTo>
                    <a:lnTo>
                      <a:pt x="2124" y="3137"/>
                    </a:lnTo>
                    <a:lnTo>
                      <a:pt x="2127" y="3141"/>
                    </a:lnTo>
                    <a:lnTo>
                      <a:pt x="2130" y="3144"/>
                    </a:lnTo>
                    <a:cubicBezTo>
                      <a:pt x="2131" y="3146"/>
                      <a:pt x="2133" y="3147"/>
                      <a:pt x="2134" y="3149"/>
                    </a:cubicBezTo>
                    <a:lnTo>
                      <a:pt x="2137" y="3152"/>
                    </a:lnTo>
                    <a:cubicBezTo>
                      <a:pt x="2138" y="3153"/>
                      <a:pt x="2140" y="3154"/>
                      <a:pt x="2141" y="3156"/>
                    </a:cubicBezTo>
                    <a:lnTo>
                      <a:pt x="2144" y="3159"/>
                    </a:lnTo>
                    <a:lnTo>
                      <a:pt x="2148" y="3162"/>
                    </a:lnTo>
                    <a:cubicBezTo>
                      <a:pt x="2149" y="3164"/>
                      <a:pt x="2150" y="3165"/>
                      <a:pt x="2152" y="3166"/>
                    </a:cubicBezTo>
                    <a:lnTo>
                      <a:pt x="2152" y="3167"/>
                    </a:lnTo>
                    <a:lnTo>
                      <a:pt x="2154" y="3169"/>
                    </a:lnTo>
                    <a:lnTo>
                      <a:pt x="2155" y="3169"/>
                    </a:lnTo>
                    <a:lnTo>
                      <a:pt x="2159" y="3173"/>
                    </a:lnTo>
                    <a:cubicBezTo>
                      <a:pt x="2203" y="3213"/>
                      <a:pt x="2257" y="3243"/>
                      <a:pt x="2315" y="3261"/>
                    </a:cubicBezTo>
                    <a:lnTo>
                      <a:pt x="2317" y="3261"/>
                    </a:lnTo>
                    <a:lnTo>
                      <a:pt x="2318" y="3261"/>
                    </a:lnTo>
                    <a:lnTo>
                      <a:pt x="2324" y="3263"/>
                    </a:lnTo>
                    <a:lnTo>
                      <a:pt x="2326" y="3264"/>
                    </a:lnTo>
                    <a:lnTo>
                      <a:pt x="2328" y="3264"/>
                    </a:lnTo>
                    <a:lnTo>
                      <a:pt x="2333" y="3265"/>
                    </a:lnTo>
                    <a:lnTo>
                      <a:pt x="2335" y="3266"/>
                    </a:lnTo>
                    <a:lnTo>
                      <a:pt x="2337" y="3266"/>
                    </a:lnTo>
                    <a:lnTo>
                      <a:pt x="2337" y="3267"/>
                    </a:lnTo>
                    <a:cubicBezTo>
                      <a:pt x="2339" y="3267"/>
                      <a:pt x="2342" y="3267"/>
                      <a:pt x="2344" y="3268"/>
                    </a:cubicBezTo>
                    <a:lnTo>
                      <a:pt x="2344" y="3268"/>
                    </a:lnTo>
                    <a:lnTo>
                      <a:pt x="2346" y="3268"/>
                    </a:lnTo>
                    <a:lnTo>
                      <a:pt x="2347" y="3269"/>
                    </a:lnTo>
                    <a:lnTo>
                      <a:pt x="2348" y="3269"/>
                    </a:lnTo>
                    <a:lnTo>
                      <a:pt x="2353" y="3270"/>
                    </a:lnTo>
                    <a:lnTo>
                      <a:pt x="2359" y="3271"/>
                    </a:lnTo>
                    <a:lnTo>
                      <a:pt x="2363" y="3272"/>
                    </a:lnTo>
                    <a:cubicBezTo>
                      <a:pt x="2365" y="3272"/>
                      <a:pt x="2367" y="3273"/>
                      <a:pt x="2369" y="3273"/>
                    </a:cubicBezTo>
                    <a:lnTo>
                      <a:pt x="2372" y="3273"/>
                    </a:lnTo>
                    <a:cubicBezTo>
                      <a:pt x="2375" y="3274"/>
                      <a:pt x="2377" y="3274"/>
                      <a:pt x="2380" y="3274"/>
                    </a:cubicBezTo>
                    <a:lnTo>
                      <a:pt x="2382" y="3275"/>
                    </a:lnTo>
                    <a:cubicBezTo>
                      <a:pt x="2385" y="3275"/>
                      <a:pt x="2388" y="3275"/>
                      <a:pt x="2391" y="3276"/>
                    </a:cubicBezTo>
                    <a:lnTo>
                      <a:pt x="2392" y="3276"/>
                    </a:lnTo>
                    <a:cubicBezTo>
                      <a:pt x="2395" y="3276"/>
                      <a:pt x="2398" y="3276"/>
                      <a:pt x="2401" y="3276"/>
                    </a:cubicBezTo>
                    <a:lnTo>
                      <a:pt x="2403" y="3277"/>
                    </a:lnTo>
                    <a:cubicBezTo>
                      <a:pt x="2406" y="3277"/>
                      <a:pt x="2409" y="3277"/>
                      <a:pt x="2412" y="3277"/>
                    </a:cubicBezTo>
                    <a:lnTo>
                      <a:pt x="2413" y="3277"/>
                    </a:lnTo>
                    <a:cubicBezTo>
                      <a:pt x="2416" y="3277"/>
                      <a:pt x="2419" y="3278"/>
                      <a:pt x="2423" y="3278"/>
                    </a:cubicBezTo>
                    <a:lnTo>
                      <a:pt x="2423" y="3278"/>
                    </a:lnTo>
                    <a:lnTo>
                      <a:pt x="2434" y="3278"/>
                    </a:lnTo>
                    <a:lnTo>
                      <a:pt x="2444" y="3278"/>
                    </a:lnTo>
                    <a:lnTo>
                      <a:pt x="2444" y="3278"/>
                    </a:lnTo>
                    <a:lnTo>
                      <a:pt x="2445" y="3278"/>
                    </a:lnTo>
                    <a:cubicBezTo>
                      <a:pt x="2448" y="3278"/>
                      <a:pt x="2451" y="3277"/>
                      <a:pt x="2454" y="3277"/>
                    </a:cubicBezTo>
                    <a:lnTo>
                      <a:pt x="2455" y="3277"/>
                    </a:lnTo>
                    <a:cubicBezTo>
                      <a:pt x="2459" y="3277"/>
                      <a:pt x="2462" y="3277"/>
                      <a:pt x="2465" y="3277"/>
                    </a:cubicBezTo>
                    <a:lnTo>
                      <a:pt x="2466" y="3276"/>
                    </a:lnTo>
                    <a:cubicBezTo>
                      <a:pt x="2469" y="3276"/>
                      <a:pt x="2472" y="3276"/>
                      <a:pt x="2475" y="3276"/>
                    </a:cubicBezTo>
                    <a:lnTo>
                      <a:pt x="2477" y="3276"/>
                    </a:lnTo>
                    <a:cubicBezTo>
                      <a:pt x="2480" y="3275"/>
                      <a:pt x="2482" y="3275"/>
                      <a:pt x="2485" y="3275"/>
                    </a:cubicBezTo>
                    <a:lnTo>
                      <a:pt x="2487" y="3274"/>
                    </a:lnTo>
                    <a:cubicBezTo>
                      <a:pt x="2490" y="3274"/>
                      <a:pt x="2492" y="3274"/>
                      <a:pt x="2495" y="3273"/>
                    </a:cubicBezTo>
                    <a:lnTo>
                      <a:pt x="2498" y="3273"/>
                    </a:lnTo>
                    <a:cubicBezTo>
                      <a:pt x="2500" y="3273"/>
                      <a:pt x="2502" y="3272"/>
                      <a:pt x="2505" y="3272"/>
                    </a:cubicBezTo>
                    <a:lnTo>
                      <a:pt x="2508" y="3271"/>
                    </a:lnTo>
                    <a:cubicBezTo>
                      <a:pt x="2576" y="3258"/>
                      <a:pt x="2639" y="3229"/>
                      <a:pt x="2690" y="3188"/>
                    </a:cubicBezTo>
                    <a:lnTo>
                      <a:pt x="2693" y="3186"/>
                    </a:lnTo>
                    <a:cubicBezTo>
                      <a:pt x="2708" y="3174"/>
                      <a:pt x="2721" y="3161"/>
                      <a:pt x="2734" y="3147"/>
                    </a:cubicBezTo>
                    <a:lnTo>
                      <a:pt x="2736" y="3145"/>
                    </a:lnTo>
                    <a:cubicBezTo>
                      <a:pt x="2743" y="3138"/>
                      <a:pt x="2749" y="3132"/>
                      <a:pt x="2755" y="3124"/>
                    </a:cubicBezTo>
                    <a:lnTo>
                      <a:pt x="2755" y="3124"/>
                    </a:lnTo>
                    <a:cubicBezTo>
                      <a:pt x="2757" y="3121"/>
                      <a:pt x="2759" y="3119"/>
                      <a:pt x="2760" y="3117"/>
                    </a:cubicBezTo>
                    <a:lnTo>
                      <a:pt x="2761" y="3116"/>
                    </a:lnTo>
                    <a:cubicBezTo>
                      <a:pt x="2763" y="3114"/>
                      <a:pt x="2764" y="3112"/>
                      <a:pt x="2766" y="3110"/>
                    </a:cubicBezTo>
                    <a:lnTo>
                      <a:pt x="2766" y="3109"/>
                    </a:lnTo>
                    <a:lnTo>
                      <a:pt x="2768" y="3106"/>
                    </a:lnTo>
                    <a:cubicBezTo>
                      <a:pt x="2769" y="3105"/>
                      <a:pt x="2770" y="3103"/>
                      <a:pt x="2772" y="3102"/>
                    </a:cubicBezTo>
                    <a:lnTo>
                      <a:pt x="2772" y="3101"/>
                    </a:lnTo>
                    <a:lnTo>
                      <a:pt x="2774" y="3099"/>
                    </a:lnTo>
                    <a:cubicBezTo>
                      <a:pt x="2775" y="3097"/>
                      <a:pt x="2776" y="3095"/>
                      <a:pt x="2777" y="3093"/>
                    </a:cubicBezTo>
                    <a:lnTo>
                      <a:pt x="2777" y="3093"/>
                    </a:lnTo>
                    <a:lnTo>
                      <a:pt x="2779" y="3091"/>
                    </a:lnTo>
                    <a:cubicBezTo>
                      <a:pt x="2780" y="3089"/>
                      <a:pt x="2781" y="3087"/>
                      <a:pt x="2782" y="3086"/>
                    </a:cubicBezTo>
                    <a:lnTo>
                      <a:pt x="2784" y="3083"/>
                    </a:lnTo>
                    <a:cubicBezTo>
                      <a:pt x="2785" y="3081"/>
                      <a:pt x="2787" y="3078"/>
                      <a:pt x="2788" y="3076"/>
                    </a:cubicBezTo>
                    <a:lnTo>
                      <a:pt x="2789" y="3074"/>
                    </a:lnTo>
                    <a:cubicBezTo>
                      <a:pt x="2791" y="3072"/>
                      <a:pt x="2792" y="3070"/>
                      <a:pt x="2793" y="3067"/>
                    </a:cubicBezTo>
                    <a:lnTo>
                      <a:pt x="2794" y="3066"/>
                    </a:lnTo>
                    <a:cubicBezTo>
                      <a:pt x="2795" y="3063"/>
                      <a:pt x="2797" y="3061"/>
                      <a:pt x="2798" y="3059"/>
                    </a:cubicBezTo>
                    <a:lnTo>
                      <a:pt x="2798" y="3058"/>
                    </a:lnTo>
                    <a:cubicBezTo>
                      <a:pt x="2800" y="3055"/>
                      <a:pt x="2801" y="3053"/>
                      <a:pt x="2802" y="3050"/>
                    </a:cubicBezTo>
                    <a:lnTo>
                      <a:pt x="2802" y="3050"/>
                    </a:lnTo>
                    <a:lnTo>
                      <a:pt x="2804" y="3047"/>
                    </a:lnTo>
                    <a:cubicBezTo>
                      <a:pt x="2805" y="3045"/>
                      <a:pt x="2806" y="3043"/>
                      <a:pt x="2807" y="3041"/>
                    </a:cubicBezTo>
                    <a:lnTo>
                      <a:pt x="2808" y="3038"/>
                    </a:lnTo>
                    <a:cubicBezTo>
                      <a:pt x="2809" y="3036"/>
                      <a:pt x="2810" y="3034"/>
                      <a:pt x="2811" y="3032"/>
                    </a:cubicBezTo>
                    <a:lnTo>
                      <a:pt x="2812" y="3029"/>
                    </a:lnTo>
                    <a:cubicBezTo>
                      <a:pt x="2830" y="2987"/>
                      <a:pt x="2842" y="2940"/>
                      <a:pt x="2845" y="2892"/>
                    </a:cubicBezTo>
                    <a:lnTo>
                      <a:pt x="2845" y="2891"/>
                    </a:lnTo>
                    <a:lnTo>
                      <a:pt x="2845" y="2891"/>
                    </a:lnTo>
                    <a:cubicBezTo>
                      <a:pt x="2845" y="2889"/>
                      <a:pt x="2845" y="2887"/>
                      <a:pt x="2845" y="2885"/>
                    </a:cubicBezTo>
                    <a:lnTo>
                      <a:pt x="2845" y="2884"/>
                    </a:lnTo>
                    <a:lnTo>
                      <a:pt x="2845" y="2884"/>
                    </a:lnTo>
                    <a:lnTo>
                      <a:pt x="2845" y="2884"/>
                    </a:lnTo>
                    <a:lnTo>
                      <a:pt x="2845" y="2878"/>
                    </a:lnTo>
                    <a:lnTo>
                      <a:pt x="2845" y="2878"/>
                    </a:lnTo>
                    <a:lnTo>
                      <a:pt x="2845" y="2878"/>
                    </a:lnTo>
                    <a:lnTo>
                      <a:pt x="2846" y="2876"/>
                    </a:lnTo>
                    <a:lnTo>
                      <a:pt x="2846" y="2875"/>
                    </a:lnTo>
                    <a:cubicBezTo>
                      <a:pt x="2846" y="2872"/>
                      <a:pt x="2846" y="2869"/>
                      <a:pt x="2846" y="2866"/>
                    </a:cubicBezTo>
                    <a:cubicBezTo>
                      <a:pt x="2846" y="2862"/>
                      <a:pt x="2846" y="2859"/>
                      <a:pt x="2846" y="2855"/>
                    </a:cubicBezTo>
                    <a:lnTo>
                      <a:pt x="2846" y="2855"/>
                    </a:lnTo>
                    <a:cubicBezTo>
                      <a:pt x="2845" y="2852"/>
                      <a:pt x="2845" y="2848"/>
                      <a:pt x="2845" y="2845"/>
                    </a:cubicBezTo>
                    <a:lnTo>
                      <a:pt x="2845" y="2844"/>
                    </a:lnTo>
                    <a:cubicBezTo>
                      <a:pt x="2845" y="2841"/>
                      <a:pt x="2845" y="2838"/>
                      <a:pt x="2844" y="2834"/>
                    </a:cubicBezTo>
                    <a:lnTo>
                      <a:pt x="2844" y="2834"/>
                    </a:lnTo>
                    <a:cubicBezTo>
                      <a:pt x="2844" y="2830"/>
                      <a:pt x="2844" y="2827"/>
                      <a:pt x="2844" y="2824"/>
                    </a:cubicBezTo>
                    <a:lnTo>
                      <a:pt x="2844" y="2824"/>
                    </a:lnTo>
                    <a:lnTo>
                      <a:pt x="2844" y="2824"/>
                    </a:lnTo>
                    <a:lnTo>
                      <a:pt x="2844" y="2823"/>
                    </a:lnTo>
                    <a:cubicBezTo>
                      <a:pt x="2843" y="2820"/>
                      <a:pt x="2843" y="2817"/>
                      <a:pt x="2842" y="2814"/>
                    </a:cubicBezTo>
                    <a:lnTo>
                      <a:pt x="2842" y="2813"/>
                    </a:lnTo>
                    <a:cubicBezTo>
                      <a:pt x="2842" y="2810"/>
                      <a:pt x="2841" y="2807"/>
                      <a:pt x="2841" y="2804"/>
                    </a:cubicBezTo>
                    <a:lnTo>
                      <a:pt x="2841" y="2803"/>
                    </a:lnTo>
                    <a:cubicBezTo>
                      <a:pt x="2840" y="2799"/>
                      <a:pt x="2840" y="2796"/>
                      <a:pt x="2839" y="2793"/>
                    </a:cubicBezTo>
                    <a:lnTo>
                      <a:pt x="2839" y="2792"/>
                    </a:lnTo>
                    <a:cubicBezTo>
                      <a:pt x="2839" y="2789"/>
                      <a:pt x="2838" y="2786"/>
                      <a:pt x="2837" y="2783"/>
                    </a:cubicBezTo>
                    <a:lnTo>
                      <a:pt x="2837" y="2783"/>
                    </a:lnTo>
                    <a:lnTo>
                      <a:pt x="2837" y="2783"/>
                    </a:lnTo>
                    <a:lnTo>
                      <a:pt x="2837" y="2783"/>
                    </a:lnTo>
                    <a:lnTo>
                      <a:pt x="2835" y="2774"/>
                    </a:lnTo>
                    <a:lnTo>
                      <a:pt x="2835" y="2772"/>
                    </a:lnTo>
                    <a:cubicBezTo>
                      <a:pt x="2834" y="2769"/>
                      <a:pt x="2834" y="2766"/>
                      <a:pt x="2833" y="2764"/>
                    </a:cubicBezTo>
                    <a:lnTo>
                      <a:pt x="2833" y="2762"/>
                    </a:lnTo>
                    <a:cubicBezTo>
                      <a:pt x="2832" y="2759"/>
                      <a:pt x="2831" y="2757"/>
                      <a:pt x="2830" y="2754"/>
                    </a:cubicBezTo>
                    <a:lnTo>
                      <a:pt x="2830" y="2752"/>
                    </a:lnTo>
                    <a:cubicBezTo>
                      <a:pt x="2829" y="2750"/>
                      <a:pt x="2828" y="2747"/>
                      <a:pt x="2827" y="2744"/>
                    </a:cubicBezTo>
                    <a:lnTo>
                      <a:pt x="2827" y="2743"/>
                    </a:lnTo>
                    <a:cubicBezTo>
                      <a:pt x="2826" y="2740"/>
                      <a:pt x="2825" y="2737"/>
                      <a:pt x="2824" y="2735"/>
                    </a:cubicBezTo>
                    <a:lnTo>
                      <a:pt x="2824" y="2733"/>
                    </a:lnTo>
                    <a:cubicBezTo>
                      <a:pt x="2823" y="2730"/>
                      <a:pt x="2822" y="2728"/>
                      <a:pt x="2821" y="2725"/>
                    </a:cubicBezTo>
                    <a:lnTo>
                      <a:pt x="2820" y="2723"/>
                    </a:lnTo>
                    <a:cubicBezTo>
                      <a:pt x="2819" y="2721"/>
                      <a:pt x="2818" y="2718"/>
                      <a:pt x="2818" y="2716"/>
                    </a:cubicBezTo>
                    <a:lnTo>
                      <a:pt x="2817" y="2714"/>
                    </a:lnTo>
                    <a:cubicBezTo>
                      <a:pt x="2816" y="2711"/>
                      <a:pt x="2815" y="2709"/>
                      <a:pt x="2814" y="2707"/>
                    </a:cubicBezTo>
                    <a:lnTo>
                      <a:pt x="2813" y="2704"/>
                    </a:lnTo>
                    <a:cubicBezTo>
                      <a:pt x="2812" y="2702"/>
                      <a:pt x="2811" y="2700"/>
                      <a:pt x="2810" y="2698"/>
                    </a:cubicBezTo>
                    <a:lnTo>
                      <a:pt x="2809" y="2696"/>
                    </a:lnTo>
                    <a:cubicBezTo>
                      <a:pt x="2764" y="2597"/>
                      <a:pt x="2682" y="2519"/>
                      <a:pt x="2580" y="2481"/>
                    </a:cubicBezTo>
                    <a:lnTo>
                      <a:pt x="2578" y="2480"/>
                    </a:lnTo>
                    <a:close/>
                    <a:moveTo>
                      <a:pt x="2434" y="1885"/>
                    </a:moveTo>
                    <a:cubicBezTo>
                      <a:pt x="2439" y="1885"/>
                      <a:pt x="2444" y="1885"/>
                      <a:pt x="2450" y="1886"/>
                    </a:cubicBezTo>
                    <a:lnTo>
                      <a:pt x="2539" y="1135"/>
                    </a:lnTo>
                    <a:cubicBezTo>
                      <a:pt x="2446" y="1107"/>
                      <a:pt x="2363" y="1057"/>
                      <a:pt x="2296" y="990"/>
                    </a:cubicBezTo>
                    <a:cubicBezTo>
                      <a:pt x="2191" y="885"/>
                      <a:pt x="2126" y="740"/>
                      <a:pt x="2126" y="580"/>
                    </a:cubicBezTo>
                    <a:cubicBezTo>
                      <a:pt x="2126" y="420"/>
                      <a:pt x="2191" y="275"/>
                      <a:pt x="2296" y="170"/>
                    </a:cubicBezTo>
                    <a:cubicBezTo>
                      <a:pt x="2401" y="65"/>
                      <a:pt x="2546" y="0"/>
                      <a:pt x="2706" y="0"/>
                    </a:cubicBezTo>
                    <a:cubicBezTo>
                      <a:pt x="2866" y="0"/>
                      <a:pt x="3011" y="65"/>
                      <a:pt x="3116" y="170"/>
                    </a:cubicBezTo>
                    <a:cubicBezTo>
                      <a:pt x="3221" y="275"/>
                      <a:pt x="3286" y="420"/>
                      <a:pt x="3286" y="580"/>
                    </a:cubicBezTo>
                    <a:cubicBezTo>
                      <a:pt x="3286" y="740"/>
                      <a:pt x="3221" y="885"/>
                      <a:pt x="3116" y="990"/>
                    </a:cubicBezTo>
                    <a:cubicBezTo>
                      <a:pt x="3018" y="1088"/>
                      <a:pt x="2885" y="1151"/>
                      <a:pt x="2737" y="1159"/>
                    </a:cubicBezTo>
                    <a:lnTo>
                      <a:pt x="2648" y="1909"/>
                    </a:lnTo>
                    <a:cubicBezTo>
                      <a:pt x="2833" y="1950"/>
                      <a:pt x="2998" y="2043"/>
                      <a:pt x="3127" y="2172"/>
                    </a:cubicBezTo>
                    <a:cubicBezTo>
                      <a:pt x="3242" y="2288"/>
                      <a:pt x="3329" y="2431"/>
                      <a:pt x="3375" y="2591"/>
                    </a:cubicBezTo>
                    <a:lnTo>
                      <a:pt x="4134" y="2452"/>
                    </a:lnTo>
                    <a:cubicBezTo>
                      <a:pt x="4139" y="2237"/>
                      <a:pt x="4314" y="2064"/>
                      <a:pt x="4530" y="2064"/>
                    </a:cubicBezTo>
                    <a:cubicBezTo>
                      <a:pt x="4749" y="2064"/>
                      <a:pt x="4927" y="2242"/>
                      <a:pt x="4927" y="2461"/>
                    </a:cubicBezTo>
                    <a:cubicBezTo>
                      <a:pt x="4927" y="2680"/>
                      <a:pt x="4749" y="2857"/>
                      <a:pt x="4530" y="2857"/>
                    </a:cubicBezTo>
                    <a:cubicBezTo>
                      <a:pt x="4379" y="2857"/>
                      <a:pt x="4247" y="2772"/>
                      <a:pt x="4180" y="2646"/>
                    </a:cubicBezTo>
                    <a:lnTo>
                      <a:pt x="3411" y="2788"/>
                    </a:lnTo>
                    <a:cubicBezTo>
                      <a:pt x="3413" y="2813"/>
                      <a:pt x="3414" y="2840"/>
                      <a:pt x="3414" y="2866"/>
                    </a:cubicBezTo>
                    <a:cubicBezTo>
                      <a:pt x="3414" y="3054"/>
                      <a:pt x="3361" y="3230"/>
                      <a:pt x="3269" y="3379"/>
                    </a:cubicBezTo>
                    <a:lnTo>
                      <a:pt x="3655" y="3674"/>
                    </a:lnTo>
                    <a:cubicBezTo>
                      <a:pt x="3708" y="3637"/>
                      <a:pt x="3774" y="3615"/>
                      <a:pt x="3844" y="3615"/>
                    </a:cubicBezTo>
                    <a:cubicBezTo>
                      <a:pt x="3936" y="3615"/>
                      <a:pt x="4018" y="3652"/>
                      <a:pt x="4078" y="3712"/>
                    </a:cubicBezTo>
                    <a:cubicBezTo>
                      <a:pt x="4138" y="3771"/>
                      <a:pt x="4175" y="3854"/>
                      <a:pt x="4175" y="3945"/>
                    </a:cubicBezTo>
                    <a:cubicBezTo>
                      <a:pt x="4175" y="4037"/>
                      <a:pt x="4138" y="4119"/>
                      <a:pt x="4078" y="4179"/>
                    </a:cubicBezTo>
                    <a:cubicBezTo>
                      <a:pt x="4018" y="4239"/>
                      <a:pt x="3936" y="4276"/>
                      <a:pt x="3844" y="4276"/>
                    </a:cubicBezTo>
                    <a:cubicBezTo>
                      <a:pt x="3753" y="4276"/>
                      <a:pt x="3670" y="4239"/>
                      <a:pt x="3610" y="4179"/>
                    </a:cubicBezTo>
                    <a:cubicBezTo>
                      <a:pt x="3551" y="4119"/>
                      <a:pt x="3514" y="4037"/>
                      <a:pt x="3514" y="3945"/>
                    </a:cubicBezTo>
                    <a:cubicBezTo>
                      <a:pt x="3514" y="3906"/>
                      <a:pt x="3521" y="3868"/>
                      <a:pt x="3533" y="3833"/>
                    </a:cubicBezTo>
                    <a:lnTo>
                      <a:pt x="3148" y="3538"/>
                    </a:lnTo>
                    <a:cubicBezTo>
                      <a:pt x="3141" y="3545"/>
                      <a:pt x="3134" y="3552"/>
                      <a:pt x="3127" y="3559"/>
                    </a:cubicBezTo>
                    <a:cubicBezTo>
                      <a:pt x="2961" y="3725"/>
                      <a:pt x="2737" y="3831"/>
                      <a:pt x="2488" y="3845"/>
                    </a:cubicBezTo>
                    <a:lnTo>
                      <a:pt x="2467" y="4291"/>
                    </a:lnTo>
                    <a:cubicBezTo>
                      <a:pt x="2503" y="4306"/>
                      <a:pt x="2536" y="4328"/>
                      <a:pt x="2564" y="4356"/>
                    </a:cubicBezTo>
                    <a:cubicBezTo>
                      <a:pt x="2618" y="4410"/>
                      <a:pt x="2651" y="4484"/>
                      <a:pt x="2651" y="4566"/>
                    </a:cubicBezTo>
                    <a:cubicBezTo>
                      <a:pt x="2651" y="4648"/>
                      <a:pt x="2618" y="4723"/>
                      <a:pt x="2564" y="4777"/>
                    </a:cubicBezTo>
                    <a:cubicBezTo>
                      <a:pt x="2510" y="4830"/>
                      <a:pt x="2436" y="4864"/>
                      <a:pt x="2354" y="4864"/>
                    </a:cubicBezTo>
                    <a:cubicBezTo>
                      <a:pt x="2272" y="4864"/>
                      <a:pt x="2197" y="4830"/>
                      <a:pt x="2144" y="4777"/>
                    </a:cubicBezTo>
                    <a:cubicBezTo>
                      <a:pt x="2090" y="4723"/>
                      <a:pt x="2056" y="4648"/>
                      <a:pt x="2056" y="4566"/>
                    </a:cubicBezTo>
                    <a:cubicBezTo>
                      <a:pt x="2056" y="4484"/>
                      <a:pt x="2090" y="4410"/>
                      <a:pt x="2144" y="4356"/>
                    </a:cubicBezTo>
                    <a:cubicBezTo>
                      <a:pt x="2178" y="4322"/>
                      <a:pt x="2220" y="4296"/>
                      <a:pt x="2267" y="4282"/>
                    </a:cubicBezTo>
                    <a:lnTo>
                      <a:pt x="2288" y="3836"/>
                    </a:lnTo>
                    <a:cubicBezTo>
                      <a:pt x="2076" y="3804"/>
                      <a:pt x="1885" y="3704"/>
                      <a:pt x="1740" y="3559"/>
                    </a:cubicBezTo>
                    <a:cubicBezTo>
                      <a:pt x="1720" y="3539"/>
                      <a:pt x="1701" y="3518"/>
                      <a:pt x="1683" y="3496"/>
                    </a:cubicBezTo>
                    <a:lnTo>
                      <a:pt x="955" y="3991"/>
                    </a:lnTo>
                    <a:cubicBezTo>
                      <a:pt x="979" y="4050"/>
                      <a:pt x="993" y="4114"/>
                      <a:pt x="993" y="4182"/>
                    </a:cubicBezTo>
                    <a:cubicBezTo>
                      <a:pt x="993" y="4319"/>
                      <a:pt x="937" y="4443"/>
                      <a:pt x="848" y="4533"/>
                    </a:cubicBezTo>
                    <a:cubicBezTo>
                      <a:pt x="758" y="4623"/>
                      <a:pt x="634" y="4678"/>
                      <a:pt x="497" y="4678"/>
                    </a:cubicBezTo>
                    <a:cubicBezTo>
                      <a:pt x="360" y="4678"/>
                      <a:pt x="236" y="4623"/>
                      <a:pt x="146" y="4533"/>
                    </a:cubicBezTo>
                    <a:cubicBezTo>
                      <a:pt x="56" y="4443"/>
                      <a:pt x="0" y="4319"/>
                      <a:pt x="0" y="4182"/>
                    </a:cubicBezTo>
                    <a:cubicBezTo>
                      <a:pt x="0" y="4045"/>
                      <a:pt x="56" y="3921"/>
                      <a:pt x="146" y="3831"/>
                    </a:cubicBezTo>
                    <a:cubicBezTo>
                      <a:pt x="236" y="3741"/>
                      <a:pt x="360" y="3685"/>
                      <a:pt x="497" y="3685"/>
                    </a:cubicBezTo>
                    <a:cubicBezTo>
                      <a:pt x="631" y="3685"/>
                      <a:pt x="753" y="3739"/>
                      <a:pt x="843" y="3826"/>
                    </a:cubicBezTo>
                    <a:lnTo>
                      <a:pt x="1571" y="3332"/>
                    </a:lnTo>
                    <a:cubicBezTo>
                      <a:pt x="1496" y="3193"/>
                      <a:pt x="1453" y="3034"/>
                      <a:pt x="1453" y="2866"/>
                    </a:cubicBezTo>
                    <a:cubicBezTo>
                      <a:pt x="1453" y="2659"/>
                      <a:pt x="1517" y="2468"/>
                      <a:pt x="1626" y="2310"/>
                    </a:cubicBezTo>
                    <a:lnTo>
                      <a:pt x="1125" y="1884"/>
                    </a:lnTo>
                    <a:cubicBezTo>
                      <a:pt x="1081" y="1910"/>
                      <a:pt x="1030" y="1924"/>
                      <a:pt x="976" y="1924"/>
                    </a:cubicBezTo>
                    <a:cubicBezTo>
                      <a:pt x="894" y="1924"/>
                      <a:pt x="819" y="1891"/>
                      <a:pt x="765" y="1837"/>
                    </a:cubicBezTo>
                    <a:cubicBezTo>
                      <a:pt x="712" y="1783"/>
                      <a:pt x="678" y="1709"/>
                      <a:pt x="678" y="1627"/>
                    </a:cubicBezTo>
                    <a:cubicBezTo>
                      <a:pt x="678" y="1545"/>
                      <a:pt x="712" y="1470"/>
                      <a:pt x="765" y="1417"/>
                    </a:cubicBezTo>
                    <a:cubicBezTo>
                      <a:pt x="819" y="1363"/>
                      <a:pt x="894" y="1330"/>
                      <a:pt x="976" y="1330"/>
                    </a:cubicBezTo>
                    <a:cubicBezTo>
                      <a:pt x="1058" y="1330"/>
                      <a:pt x="1132" y="1363"/>
                      <a:pt x="1186" y="1417"/>
                    </a:cubicBezTo>
                    <a:cubicBezTo>
                      <a:pt x="1240" y="1470"/>
                      <a:pt x="1273" y="1545"/>
                      <a:pt x="1273" y="1627"/>
                    </a:cubicBezTo>
                    <a:cubicBezTo>
                      <a:pt x="1273" y="1664"/>
                      <a:pt x="1266" y="1699"/>
                      <a:pt x="1254" y="1732"/>
                    </a:cubicBezTo>
                    <a:lnTo>
                      <a:pt x="1755" y="2158"/>
                    </a:lnTo>
                    <a:cubicBezTo>
                      <a:pt x="1931" y="1989"/>
                      <a:pt x="2170" y="1885"/>
                      <a:pt x="2434" y="1885"/>
                    </a:cubicBezTo>
                    <a:lnTo>
                      <a:pt x="2434" y="18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1" name="Freeform 12">
                <a:extLst>
                  <a:ext uri="{FF2B5EF4-FFF2-40B4-BE49-F238E27FC236}">
                    <a16:creationId xmlns:a16="http://schemas.microsoft.com/office/drawing/2014/main" id="{B59EC4F5-B231-4A2E-AC72-4B41A3EEBA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0388" y="489061"/>
                <a:ext cx="125950" cy="127262"/>
              </a:xfrm>
              <a:custGeom>
                <a:avLst/>
                <a:gdLst>
                  <a:gd name="T0" fmla="*/ 696 w 926"/>
                  <a:gd name="T1" fmla="*/ 230 h 926"/>
                  <a:gd name="T2" fmla="*/ 463 w 926"/>
                  <a:gd name="T3" fmla="*/ 133 h 926"/>
                  <a:gd name="T4" fmla="*/ 230 w 926"/>
                  <a:gd name="T5" fmla="*/ 230 h 926"/>
                  <a:gd name="T6" fmla="*/ 134 w 926"/>
                  <a:gd name="T7" fmla="*/ 463 h 926"/>
                  <a:gd name="T8" fmla="*/ 230 w 926"/>
                  <a:gd name="T9" fmla="*/ 696 h 926"/>
                  <a:gd name="T10" fmla="*/ 463 w 926"/>
                  <a:gd name="T11" fmla="*/ 792 h 926"/>
                  <a:gd name="T12" fmla="*/ 696 w 926"/>
                  <a:gd name="T13" fmla="*/ 696 h 926"/>
                  <a:gd name="T14" fmla="*/ 793 w 926"/>
                  <a:gd name="T15" fmla="*/ 463 h 926"/>
                  <a:gd name="T16" fmla="*/ 696 w 926"/>
                  <a:gd name="T17" fmla="*/ 230 h 926"/>
                  <a:gd name="T18" fmla="*/ 463 w 926"/>
                  <a:gd name="T19" fmla="*/ 0 h 926"/>
                  <a:gd name="T20" fmla="*/ 791 w 926"/>
                  <a:gd name="T21" fmla="*/ 135 h 926"/>
                  <a:gd name="T22" fmla="*/ 926 w 926"/>
                  <a:gd name="T23" fmla="*/ 463 h 926"/>
                  <a:gd name="T24" fmla="*/ 791 w 926"/>
                  <a:gd name="T25" fmla="*/ 790 h 926"/>
                  <a:gd name="T26" fmla="*/ 463 w 926"/>
                  <a:gd name="T27" fmla="*/ 926 h 926"/>
                  <a:gd name="T28" fmla="*/ 136 w 926"/>
                  <a:gd name="T29" fmla="*/ 790 h 926"/>
                  <a:gd name="T30" fmla="*/ 0 w 926"/>
                  <a:gd name="T31" fmla="*/ 463 h 926"/>
                  <a:gd name="T32" fmla="*/ 136 w 926"/>
                  <a:gd name="T33" fmla="*/ 135 h 926"/>
                  <a:gd name="T34" fmla="*/ 463 w 926"/>
                  <a:gd name="T35" fmla="*/ 0 h 926"/>
                  <a:gd name="T36" fmla="*/ 463 w 926"/>
                  <a:gd name="T37" fmla="*/ 0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26" h="926">
                    <a:moveTo>
                      <a:pt x="696" y="230"/>
                    </a:moveTo>
                    <a:cubicBezTo>
                      <a:pt x="637" y="170"/>
                      <a:pt x="554" y="133"/>
                      <a:pt x="463" y="133"/>
                    </a:cubicBezTo>
                    <a:cubicBezTo>
                      <a:pt x="372" y="133"/>
                      <a:pt x="290" y="170"/>
                      <a:pt x="230" y="230"/>
                    </a:cubicBezTo>
                    <a:cubicBezTo>
                      <a:pt x="171" y="289"/>
                      <a:pt x="134" y="372"/>
                      <a:pt x="134" y="463"/>
                    </a:cubicBezTo>
                    <a:cubicBezTo>
                      <a:pt x="134" y="554"/>
                      <a:pt x="171" y="636"/>
                      <a:pt x="230" y="696"/>
                    </a:cubicBezTo>
                    <a:cubicBezTo>
                      <a:pt x="290" y="755"/>
                      <a:pt x="372" y="792"/>
                      <a:pt x="463" y="792"/>
                    </a:cubicBezTo>
                    <a:cubicBezTo>
                      <a:pt x="554" y="792"/>
                      <a:pt x="637" y="755"/>
                      <a:pt x="696" y="696"/>
                    </a:cubicBezTo>
                    <a:cubicBezTo>
                      <a:pt x="756" y="636"/>
                      <a:pt x="793" y="554"/>
                      <a:pt x="793" y="463"/>
                    </a:cubicBezTo>
                    <a:cubicBezTo>
                      <a:pt x="793" y="372"/>
                      <a:pt x="756" y="289"/>
                      <a:pt x="696" y="230"/>
                    </a:cubicBezTo>
                    <a:close/>
                    <a:moveTo>
                      <a:pt x="463" y="0"/>
                    </a:moveTo>
                    <a:cubicBezTo>
                      <a:pt x="591" y="0"/>
                      <a:pt x="707" y="52"/>
                      <a:pt x="791" y="135"/>
                    </a:cubicBezTo>
                    <a:cubicBezTo>
                      <a:pt x="874" y="219"/>
                      <a:pt x="926" y="335"/>
                      <a:pt x="926" y="463"/>
                    </a:cubicBezTo>
                    <a:cubicBezTo>
                      <a:pt x="926" y="591"/>
                      <a:pt x="874" y="706"/>
                      <a:pt x="791" y="790"/>
                    </a:cubicBezTo>
                    <a:cubicBezTo>
                      <a:pt x="707" y="874"/>
                      <a:pt x="591" y="926"/>
                      <a:pt x="463" y="926"/>
                    </a:cubicBezTo>
                    <a:cubicBezTo>
                      <a:pt x="336" y="926"/>
                      <a:pt x="220" y="874"/>
                      <a:pt x="136" y="790"/>
                    </a:cubicBezTo>
                    <a:cubicBezTo>
                      <a:pt x="52" y="706"/>
                      <a:pt x="0" y="591"/>
                      <a:pt x="0" y="463"/>
                    </a:cubicBezTo>
                    <a:cubicBezTo>
                      <a:pt x="0" y="335"/>
                      <a:pt x="52" y="219"/>
                      <a:pt x="136" y="135"/>
                    </a:cubicBezTo>
                    <a:cubicBezTo>
                      <a:pt x="220" y="52"/>
                      <a:pt x="336" y="0"/>
                      <a:pt x="463" y="0"/>
                    </a:cubicBezTo>
                    <a:lnTo>
                      <a:pt x="46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762" name="Drone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31D2BCE4-AD2E-42E4-856F-B042C2C2E9AB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449230" y="3910500"/>
              <a:ext cx="442353" cy="448698"/>
              <a:chOff x="8" y="-12"/>
              <a:chExt cx="488" cy="495"/>
            </a:xfrm>
            <a:solidFill>
              <a:srgbClr val="ED7D31"/>
            </a:solidFill>
          </p:grpSpPr>
          <p:sp>
            <p:nvSpPr>
              <p:cNvPr id="763" name="Drone">
                <a:extLst>
                  <a:ext uri="{FF2B5EF4-FFF2-40B4-BE49-F238E27FC236}">
                    <a16:creationId xmlns:a16="http://schemas.microsoft.com/office/drawing/2014/main" id="{3B63C7C0-E04D-4BA6-BADA-5FADDCD1041E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8" y="-12"/>
                <a:ext cx="488" cy="217"/>
              </a:xfrm>
              <a:custGeom>
                <a:avLst/>
                <a:gdLst>
                  <a:gd name="T0" fmla="*/ 1181 w 1250"/>
                  <a:gd name="T1" fmla="*/ 243 h 555"/>
                  <a:gd name="T2" fmla="*/ 1076 w 1250"/>
                  <a:gd name="T3" fmla="*/ 243 h 555"/>
                  <a:gd name="T4" fmla="*/ 451 w 1250"/>
                  <a:gd name="T5" fmla="*/ 243 h 555"/>
                  <a:gd name="T6" fmla="*/ 0 w 1250"/>
                  <a:gd name="T7" fmla="*/ 313 h 555"/>
                  <a:gd name="T8" fmla="*/ 52 w 1250"/>
                  <a:gd name="T9" fmla="*/ 347 h 555"/>
                  <a:gd name="T10" fmla="*/ 122 w 1250"/>
                  <a:gd name="T11" fmla="*/ 365 h 555"/>
                  <a:gd name="T12" fmla="*/ 541 w 1250"/>
                  <a:gd name="T13" fmla="*/ 365 h 555"/>
                  <a:gd name="T14" fmla="*/ 747 w 1250"/>
                  <a:gd name="T15" fmla="*/ 555 h 555"/>
                  <a:gd name="T16" fmla="*/ 851 w 1250"/>
                  <a:gd name="T17" fmla="*/ 555 h 555"/>
                  <a:gd name="T18" fmla="*/ 748 w 1250"/>
                  <a:gd name="T19" fmla="*/ 365 h 555"/>
                  <a:gd name="T20" fmla="*/ 1122 w 1250"/>
                  <a:gd name="T21" fmla="*/ 365 h 555"/>
                  <a:gd name="T22" fmla="*/ 1181 w 1250"/>
                  <a:gd name="T23" fmla="*/ 521 h 555"/>
                  <a:gd name="T24" fmla="*/ 1250 w 1250"/>
                  <a:gd name="T25" fmla="*/ 521 h 555"/>
                  <a:gd name="T26" fmla="*/ 1250 w 1250"/>
                  <a:gd name="T27" fmla="*/ 313 h 555"/>
                  <a:gd name="T28" fmla="*/ 1181 w 1250"/>
                  <a:gd name="T29" fmla="*/ 243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0" h="555">
                    <a:moveTo>
                      <a:pt x="1181" y="243"/>
                    </a:moveTo>
                    <a:lnTo>
                      <a:pt x="1076" y="243"/>
                    </a:lnTo>
                    <a:lnTo>
                      <a:pt x="451" y="243"/>
                    </a:lnTo>
                    <a:cubicBezTo>
                      <a:pt x="87" y="0"/>
                      <a:pt x="0" y="313"/>
                      <a:pt x="0" y="313"/>
                    </a:cubicBezTo>
                    <a:cubicBezTo>
                      <a:pt x="0" y="313"/>
                      <a:pt x="38" y="341"/>
                      <a:pt x="52" y="347"/>
                    </a:cubicBezTo>
                    <a:cubicBezTo>
                      <a:pt x="67" y="354"/>
                      <a:pt x="87" y="365"/>
                      <a:pt x="122" y="365"/>
                    </a:cubicBezTo>
                    <a:cubicBezTo>
                      <a:pt x="124" y="365"/>
                      <a:pt x="319" y="365"/>
                      <a:pt x="541" y="365"/>
                    </a:cubicBezTo>
                    <a:lnTo>
                      <a:pt x="747" y="555"/>
                    </a:lnTo>
                    <a:lnTo>
                      <a:pt x="851" y="555"/>
                    </a:lnTo>
                    <a:lnTo>
                      <a:pt x="748" y="365"/>
                    </a:lnTo>
                    <a:lnTo>
                      <a:pt x="1122" y="365"/>
                    </a:lnTo>
                    <a:lnTo>
                      <a:pt x="1181" y="521"/>
                    </a:lnTo>
                    <a:lnTo>
                      <a:pt x="1250" y="521"/>
                    </a:lnTo>
                    <a:lnTo>
                      <a:pt x="1250" y="313"/>
                    </a:lnTo>
                    <a:cubicBezTo>
                      <a:pt x="1250" y="260"/>
                      <a:pt x="1233" y="243"/>
                      <a:pt x="1181" y="24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4" name="Drone">
                <a:extLst>
                  <a:ext uri="{FF2B5EF4-FFF2-40B4-BE49-F238E27FC236}">
                    <a16:creationId xmlns:a16="http://schemas.microsoft.com/office/drawing/2014/main" id="{8FBC5AC3-6321-4309-8684-4CC59E6E84F8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227" y="8"/>
                <a:ext cx="106" cy="61"/>
              </a:xfrm>
              <a:custGeom>
                <a:avLst/>
                <a:gdLst>
                  <a:gd name="T0" fmla="*/ 188 w 272"/>
                  <a:gd name="T1" fmla="*/ 156 h 156"/>
                  <a:gd name="T2" fmla="*/ 272 w 272"/>
                  <a:gd name="T3" fmla="*/ 0 h 156"/>
                  <a:gd name="T4" fmla="*/ 168 w 272"/>
                  <a:gd name="T5" fmla="*/ 0 h 156"/>
                  <a:gd name="T6" fmla="*/ 0 w 272"/>
                  <a:gd name="T7" fmla="*/ 156 h 156"/>
                  <a:gd name="T8" fmla="*/ 188 w 272"/>
                  <a:gd name="T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56">
                    <a:moveTo>
                      <a:pt x="188" y="156"/>
                    </a:moveTo>
                    <a:lnTo>
                      <a:pt x="272" y="0"/>
                    </a:lnTo>
                    <a:lnTo>
                      <a:pt x="168" y="0"/>
                    </a:lnTo>
                    <a:lnTo>
                      <a:pt x="0" y="156"/>
                    </a:lnTo>
                    <a:lnTo>
                      <a:pt x="188" y="15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5" name="Drone">
                <a:extLst>
                  <a:ext uri="{FF2B5EF4-FFF2-40B4-BE49-F238E27FC236}">
                    <a16:creationId xmlns:a16="http://schemas.microsoft.com/office/drawing/2014/main" id="{D3844BAE-07D0-4555-BBC0-C56A90D3F93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22" y="408"/>
                <a:ext cx="74" cy="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6" name="Drone">
                <a:extLst>
                  <a:ext uri="{FF2B5EF4-FFF2-40B4-BE49-F238E27FC236}">
                    <a16:creationId xmlns:a16="http://schemas.microsoft.com/office/drawing/2014/main" id="{93CA743C-EA1E-46B8-952C-1280C839E8D1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77" y="364"/>
                <a:ext cx="55" cy="54"/>
              </a:xfrm>
              <a:custGeom>
                <a:avLst/>
                <a:gdLst>
                  <a:gd name="T0" fmla="*/ 26 w 139"/>
                  <a:gd name="T1" fmla="*/ 139 h 139"/>
                  <a:gd name="T2" fmla="*/ 0 w 139"/>
                  <a:gd name="T3" fmla="*/ 113 h 139"/>
                  <a:gd name="T4" fmla="*/ 113 w 139"/>
                  <a:gd name="T5" fmla="*/ 0 h 139"/>
                  <a:gd name="T6" fmla="*/ 139 w 139"/>
                  <a:gd name="T7" fmla="*/ 27 h 139"/>
                  <a:gd name="T8" fmla="*/ 113 w 139"/>
                  <a:gd name="T9" fmla="*/ 53 h 139"/>
                  <a:gd name="T10" fmla="*/ 52 w 139"/>
                  <a:gd name="T11" fmla="*/ 113 h 139"/>
                  <a:gd name="T12" fmla="*/ 26 w 139"/>
                  <a:gd name="T13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" h="139">
                    <a:moveTo>
                      <a:pt x="26" y="139"/>
                    </a:moveTo>
                    <a:cubicBezTo>
                      <a:pt x="12" y="139"/>
                      <a:pt x="0" y="128"/>
                      <a:pt x="0" y="113"/>
                    </a:cubicBezTo>
                    <a:cubicBezTo>
                      <a:pt x="0" y="51"/>
                      <a:pt x="51" y="0"/>
                      <a:pt x="113" y="0"/>
                    </a:cubicBezTo>
                    <a:cubicBezTo>
                      <a:pt x="127" y="0"/>
                      <a:pt x="139" y="12"/>
                      <a:pt x="139" y="27"/>
                    </a:cubicBezTo>
                    <a:cubicBezTo>
                      <a:pt x="139" y="41"/>
                      <a:pt x="127" y="53"/>
                      <a:pt x="113" y="53"/>
                    </a:cubicBezTo>
                    <a:cubicBezTo>
                      <a:pt x="80" y="53"/>
                      <a:pt x="52" y="80"/>
                      <a:pt x="52" y="113"/>
                    </a:cubicBezTo>
                    <a:cubicBezTo>
                      <a:pt x="52" y="128"/>
                      <a:pt x="41" y="139"/>
                      <a:pt x="26" y="13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7" name="Drone">
                <a:extLst>
                  <a:ext uri="{FF2B5EF4-FFF2-40B4-BE49-F238E27FC236}">
                    <a16:creationId xmlns:a16="http://schemas.microsoft.com/office/drawing/2014/main" id="{5953B9BB-0D5A-44F8-B58B-DA7AF4366E4D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340" y="327"/>
                <a:ext cx="75" cy="75"/>
              </a:xfrm>
              <a:custGeom>
                <a:avLst/>
                <a:gdLst>
                  <a:gd name="T0" fmla="*/ 26 w 191"/>
                  <a:gd name="T1" fmla="*/ 191 h 191"/>
                  <a:gd name="T2" fmla="*/ 0 w 191"/>
                  <a:gd name="T3" fmla="*/ 165 h 191"/>
                  <a:gd name="T4" fmla="*/ 165 w 191"/>
                  <a:gd name="T5" fmla="*/ 0 h 191"/>
                  <a:gd name="T6" fmla="*/ 191 w 191"/>
                  <a:gd name="T7" fmla="*/ 26 h 191"/>
                  <a:gd name="T8" fmla="*/ 165 w 191"/>
                  <a:gd name="T9" fmla="*/ 52 h 191"/>
                  <a:gd name="T10" fmla="*/ 52 w 191"/>
                  <a:gd name="T11" fmla="*/ 165 h 191"/>
                  <a:gd name="T12" fmla="*/ 26 w 191"/>
                  <a:gd name="T13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1" h="191">
                    <a:moveTo>
                      <a:pt x="26" y="191"/>
                    </a:moveTo>
                    <a:cubicBezTo>
                      <a:pt x="11" y="191"/>
                      <a:pt x="0" y="179"/>
                      <a:pt x="0" y="165"/>
                    </a:cubicBezTo>
                    <a:cubicBezTo>
                      <a:pt x="0" y="74"/>
                      <a:pt x="74" y="0"/>
                      <a:pt x="165" y="0"/>
                    </a:cubicBezTo>
                    <a:cubicBezTo>
                      <a:pt x="179" y="0"/>
                      <a:pt x="191" y="12"/>
                      <a:pt x="191" y="26"/>
                    </a:cubicBezTo>
                    <a:cubicBezTo>
                      <a:pt x="191" y="40"/>
                      <a:pt x="179" y="52"/>
                      <a:pt x="165" y="52"/>
                    </a:cubicBezTo>
                    <a:cubicBezTo>
                      <a:pt x="102" y="52"/>
                      <a:pt x="52" y="103"/>
                      <a:pt x="52" y="165"/>
                    </a:cubicBezTo>
                    <a:cubicBezTo>
                      <a:pt x="52" y="179"/>
                      <a:pt x="40" y="191"/>
                      <a:pt x="26" y="19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8" name="Drone">
                <a:extLst>
                  <a:ext uri="{FF2B5EF4-FFF2-40B4-BE49-F238E27FC236}">
                    <a16:creationId xmlns:a16="http://schemas.microsoft.com/office/drawing/2014/main" id="{72099D48-73D2-4133-9B2E-93BAD0D36004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03" y="289"/>
                <a:ext cx="95" cy="96"/>
              </a:xfrm>
              <a:custGeom>
                <a:avLst/>
                <a:gdLst>
                  <a:gd name="T0" fmla="*/ 26 w 243"/>
                  <a:gd name="T1" fmla="*/ 244 h 244"/>
                  <a:gd name="T2" fmla="*/ 0 w 243"/>
                  <a:gd name="T3" fmla="*/ 218 h 244"/>
                  <a:gd name="T4" fmla="*/ 217 w 243"/>
                  <a:gd name="T5" fmla="*/ 0 h 244"/>
                  <a:gd name="T6" fmla="*/ 243 w 243"/>
                  <a:gd name="T7" fmla="*/ 27 h 244"/>
                  <a:gd name="T8" fmla="*/ 217 w 243"/>
                  <a:gd name="T9" fmla="*/ 53 h 244"/>
                  <a:gd name="T10" fmla="*/ 52 w 243"/>
                  <a:gd name="T11" fmla="*/ 218 h 244"/>
                  <a:gd name="T12" fmla="*/ 26 w 243"/>
                  <a:gd name="T13" fmla="*/ 244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3" h="244">
                    <a:moveTo>
                      <a:pt x="26" y="244"/>
                    </a:moveTo>
                    <a:cubicBezTo>
                      <a:pt x="12" y="244"/>
                      <a:pt x="0" y="232"/>
                      <a:pt x="0" y="218"/>
                    </a:cubicBezTo>
                    <a:cubicBezTo>
                      <a:pt x="0" y="98"/>
                      <a:pt x="98" y="0"/>
                      <a:pt x="217" y="0"/>
                    </a:cubicBezTo>
                    <a:cubicBezTo>
                      <a:pt x="232" y="0"/>
                      <a:pt x="243" y="12"/>
                      <a:pt x="243" y="27"/>
                    </a:cubicBezTo>
                    <a:cubicBezTo>
                      <a:pt x="243" y="41"/>
                      <a:pt x="232" y="53"/>
                      <a:pt x="217" y="53"/>
                    </a:cubicBezTo>
                    <a:cubicBezTo>
                      <a:pt x="126" y="53"/>
                      <a:pt x="52" y="127"/>
                      <a:pt x="52" y="218"/>
                    </a:cubicBezTo>
                    <a:cubicBezTo>
                      <a:pt x="52" y="232"/>
                      <a:pt x="41" y="244"/>
                      <a:pt x="26" y="24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69" name="Drone">
                <a:extLst>
                  <a:ext uri="{FF2B5EF4-FFF2-40B4-BE49-F238E27FC236}">
                    <a16:creationId xmlns:a16="http://schemas.microsoft.com/office/drawing/2014/main" id="{FAB8121C-F558-4173-A956-28EF6A227939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88" y="144"/>
                <a:ext cx="45" cy="47"/>
              </a:xfrm>
              <a:custGeom>
                <a:avLst/>
                <a:gdLst>
                  <a:gd name="T0" fmla="*/ 0 w 115"/>
                  <a:gd name="T1" fmla="*/ 0 h 122"/>
                  <a:gd name="T2" fmla="*/ 0 w 115"/>
                  <a:gd name="T3" fmla="*/ 122 h 122"/>
                  <a:gd name="T4" fmla="*/ 70 w 115"/>
                  <a:gd name="T5" fmla="*/ 122 h 122"/>
                  <a:gd name="T6" fmla="*/ 115 w 115"/>
                  <a:gd name="T7" fmla="*/ 0 h 122"/>
                  <a:gd name="T8" fmla="*/ 0 w 115"/>
                  <a:gd name="T9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5" h="122">
                    <a:moveTo>
                      <a:pt x="0" y="0"/>
                    </a:moveTo>
                    <a:lnTo>
                      <a:pt x="0" y="122"/>
                    </a:lnTo>
                    <a:lnTo>
                      <a:pt x="70" y="122"/>
                    </a:lnTo>
                    <a:lnTo>
                      <a:pt x="11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770" name="Network9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FF66A11-BE86-4B0F-B4F6-E33DC68DB1CE}"/>
                </a:ext>
              </a:extLst>
            </p:cNvPr>
            <p:cNvSpPr>
              <a:spLocks noChangeAspect="1"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5794453" y="2899470"/>
              <a:ext cx="776562" cy="493568"/>
            </a:xfrm>
            <a:custGeom>
              <a:avLst/>
              <a:gdLst>
                <a:gd name="T0" fmla="*/ 4716 w 6669"/>
                <a:gd name="T1" fmla="*/ 739 h 4241"/>
                <a:gd name="T2" fmla="*/ 5818 w 6669"/>
                <a:gd name="T3" fmla="*/ 2704 h 4241"/>
                <a:gd name="T4" fmla="*/ 6323 w 6669"/>
                <a:gd name="T5" fmla="*/ 1934 h 4241"/>
                <a:gd name="T6" fmla="*/ 979 w 6669"/>
                <a:gd name="T7" fmla="*/ 1231 h 4241"/>
                <a:gd name="T8" fmla="*/ 473 w 6669"/>
                <a:gd name="T9" fmla="*/ 1987 h 4241"/>
                <a:gd name="T10" fmla="*/ 979 w 6669"/>
                <a:gd name="T11" fmla="*/ 2756 h 4241"/>
                <a:gd name="T12" fmla="*/ 6062 w 6669"/>
                <a:gd name="T13" fmla="*/ 1602 h 4241"/>
                <a:gd name="T14" fmla="*/ 6568 w 6669"/>
                <a:gd name="T15" fmla="*/ 1869 h 4241"/>
                <a:gd name="T16" fmla="*/ 5573 w 6669"/>
                <a:gd name="T17" fmla="*/ 2639 h 4241"/>
                <a:gd name="T18" fmla="*/ 4834 w 6669"/>
                <a:gd name="T19" fmla="*/ 3620 h 4241"/>
                <a:gd name="T20" fmla="*/ 607 w 6669"/>
                <a:gd name="T21" fmla="*/ 2639 h 4241"/>
                <a:gd name="T22" fmla="*/ 101 w 6669"/>
                <a:gd name="T23" fmla="*/ 2358 h 4241"/>
                <a:gd name="T24" fmla="*/ 1096 w 6669"/>
                <a:gd name="T25" fmla="*/ 1602 h 4241"/>
                <a:gd name="T26" fmla="*/ 1835 w 6669"/>
                <a:gd name="T27" fmla="*/ 621 h 4241"/>
                <a:gd name="T28" fmla="*/ 3404 w 6669"/>
                <a:gd name="T29" fmla="*/ 3763 h 4241"/>
                <a:gd name="T30" fmla="*/ 2701 w 6669"/>
                <a:gd name="T31" fmla="*/ 3184 h 4241"/>
                <a:gd name="T32" fmla="*/ 2611 w 6669"/>
                <a:gd name="T33" fmla="*/ 2933 h 4241"/>
                <a:gd name="T34" fmla="*/ 3265 w 6669"/>
                <a:gd name="T35" fmla="*/ 1389 h 4241"/>
                <a:gd name="T36" fmla="*/ 3265 w 6669"/>
                <a:gd name="T37" fmla="*/ 1250 h 4241"/>
                <a:gd name="T38" fmla="*/ 3912 w 6669"/>
                <a:gd name="T39" fmla="*/ 938 h 4241"/>
                <a:gd name="T40" fmla="*/ 2150 w 6669"/>
                <a:gd name="T41" fmla="*/ 975 h 4241"/>
                <a:gd name="T42" fmla="*/ 2039 w 6669"/>
                <a:gd name="T43" fmla="*/ 1101 h 4241"/>
                <a:gd name="T44" fmla="*/ 1990 w 6669"/>
                <a:gd name="T45" fmla="*/ 1166 h 4241"/>
                <a:gd name="T46" fmla="*/ 1935 w 6669"/>
                <a:gd name="T47" fmla="*/ 1250 h 4241"/>
                <a:gd name="T48" fmla="*/ 1839 w 6669"/>
                <a:gd name="T49" fmla="*/ 1426 h 4241"/>
                <a:gd name="T50" fmla="*/ 1733 w 6669"/>
                <a:gd name="T51" fmla="*/ 1728 h 4241"/>
                <a:gd name="T52" fmla="*/ 1716 w 6669"/>
                <a:gd name="T53" fmla="*/ 1810 h 4241"/>
                <a:gd name="T54" fmla="*/ 1709 w 6669"/>
                <a:gd name="T55" fmla="*/ 1849 h 4241"/>
                <a:gd name="T56" fmla="*/ 1695 w 6669"/>
                <a:gd name="T57" fmla="*/ 1953 h 4241"/>
                <a:gd name="T58" fmla="*/ 1692 w 6669"/>
                <a:gd name="T59" fmla="*/ 1990 h 4241"/>
                <a:gd name="T60" fmla="*/ 1689 w 6669"/>
                <a:gd name="T61" fmla="*/ 2036 h 4241"/>
                <a:gd name="T62" fmla="*/ 1689 w 6669"/>
                <a:gd name="T63" fmla="*/ 2205 h 4241"/>
                <a:gd name="T64" fmla="*/ 1692 w 6669"/>
                <a:gd name="T65" fmla="*/ 2251 h 4241"/>
                <a:gd name="T66" fmla="*/ 1695 w 6669"/>
                <a:gd name="T67" fmla="*/ 2288 h 4241"/>
                <a:gd name="T68" fmla="*/ 1709 w 6669"/>
                <a:gd name="T69" fmla="*/ 2392 h 4241"/>
                <a:gd name="T70" fmla="*/ 1716 w 6669"/>
                <a:gd name="T71" fmla="*/ 2431 h 4241"/>
                <a:gd name="T72" fmla="*/ 1733 w 6669"/>
                <a:gd name="T73" fmla="*/ 2512 h 4241"/>
                <a:gd name="T74" fmla="*/ 1780 w 6669"/>
                <a:gd name="T75" fmla="*/ 2668 h 4241"/>
                <a:gd name="T76" fmla="*/ 1926 w 6669"/>
                <a:gd name="T77" fmla="*/ 2977 h 4241"/>
                <a:gd name="T78" fmla="*/ 1990 w 6669"/>
                <a:gd name="T79" fmla="*/ 3073 h 4241"/>
                <a:gd name="T80" fmla="*/ 2024 w 6669"/>
                <a:gd name="T81" fmla="*/ 3120 h 4241"/>
                <a:gd name="T82" fmla="*/ 2762 w 6669"/>
                <a:gd name="T83" fmla="*/ 3571 h 4241"/>
                <a:gd name="T84" fmla="*/ 2515 w 6669"/>
                <a:gd name="T85" fmla="*/ 3550 h 4241"/>
                <a:gd name="T86" fmla="*/ 4520 w 6669"/>
                <a:gd name="T87" fmla="*/ 3266 h 4241"/>
                <a:gd name="T88" fmla="*/ 4630 w 6669"/>
                <a:gd name="T89" fmla="*/ 3140 h 4241"/>
                <a:gd name="T90" fmla="*/ 4839 w 6669"/>
                <a:gd name="T91" fmla="*/ 2795 h 4241"/>
                <a:gd name="T92" fmla="*/ 4960 w 6669"/>
                <a:gd name="T93" fmla="*/ 2397 h 4241"/>
                <a:gd name="T94" fmla="*/ 4974 w 6669"/>
                <a:gd name="T95" fmla="*/ 2289 h 4241"/>
                <a:gd name="T96" fmla="*/ 4977 w 6669"/>
                <a:gd name="T97" fmla="*/ 2260 h 4241"/>
                <a:gd name="T98" fmla="*/ 4981 w 6669"/>
                <a:gd name="T99" fmla="*/ 2205 h 4241"/>
                <a:gd name="T100" fmla="*/ 4981 w 6669"/>
                <a:gd name="T101" fmla="*/ 2046 h 4241"/>
                <a:gd name="T102" fmla="*/ 4978 w 6669"/>
                <a:gd name="T103" fmla="*/ 1990 h 4241"/>
                <a:gd name="T104" fmla="*/ 4974 w 6669"/>
                <a:gd name="T105" fmla="*/ 1953 h 4241"/>
                <a:gd name="T106" fmla="*/ 4964 w 6669"/>
                <a:gd name="T107" fmla="*/ 1869 h 4241"/>
                <a:gd name="T108" fmla="*/ 4950 w 6669"/>
                <a:gd name="T109" fmla="*/ 1791 h 4241"/>
                <a:gd name="T110" fmla="*/ 4645 w 6669"/>
                <a:gd name="T111" fmla="*/ 1121 h 4241"/>
                <a:gd name="T112" fmla="*/ 3907 w 6669"/>
                <a:gd name="T113" fmla="*/ 670 h 4241"/>
                <a:gd name="T114" fmla="*/ 3788 w 6669"/>
                <a:gd name="T115" fmla="*/ 536 h 4241"/>
                <a:gd name="T116" fmla="*/ 5691 w 6669"/>
                <a:gd name="T117" fmla="*/ 1231 h 4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69" h="4241">
                  <a:moveTo>
                    <a:pt x="4716" y="739"/>
                  </a:moveTo>
                  <a:cubicBezTo>
                    <a:pt x="4363" y="385"/>
                    <a:pt x="3874" y="166"/>
                    <a:pt x="3335" y="166"/>
                  </a:cubicBezTo>
                  <a:cubicBezTo>
                    <a:pt x="2795" y="166"/>
                    <a:pt x="2306" y="385"/>
                    <a:pt x="1953" y="739"/>
                  </a:cubicBezTo>
                  <a:cubicBezTo>
                    <a:pt x="1599" y="1092"/>
                    <a:pt x="1381" y="1581"/>
                    <a:pt x="1381" y="2120"/>
                  </a:cubicBezTo>
                  <a:cubicBezTo>
                    <a:pt x="1381" y="2660"/>
                    <a:pt x="1599" y="3149"/>
                    <a:pt x="1953" y="3502"/>
                  </a:cubicBezTo>
                  <a:cubicBezTo>
                    <a:pt x="2306" y="3856"/>
                    <a:pt x="2795" y="4075"/>
                    <a:pt x="3335" y="4075"/>
                  </a:cubicBezTo>
                  <a:cubicBezTo>
                    <a:pt x="3874" y="4075"/>
                    <a:pt x="4363" y="3856"/>
                    <a:pt x="4716" y="3502"/>
                  </a:cubicBezTo>
                  <a:cubicBezTo>
                    <a:pt x="5070" y="3149"/>
                    <a:pt x="5289" y="2660"/>
                    <a:pt x="5289" y="2120"/>
                  </a:cubicBezTo>
                  <a:cubicBezTo>
                    <a:pt x="5289" y="1581"/>
                    <a:pt x="5070" y="1092"/>
                    <a:pt x="4716" y="739"/>
                  </a:cubicBezTo>
                  <a:close/>
                  <a:moveTo>
                    <a:pt x="5818" y="2704"/>
                  </a:moveTo>
                  <a:cubicBezTo>
                    <a:pt x="5768" y="2704"/>
                    <a:pt x="5723" y="2724"/>
                    <a:pt x="5691" y="2756"/>
                  </a:cubicBezTo>
                  <a:cubicBezTo>
                    <a:pt x="5658" y="2789"/>
                    <a:pt x="5638" y="2834"/>
                    <a:pt x="5638" y="2883"/>
                  </a:cubicBezTo>
                  <a:cubicBezTo>
                    <a:pt x="5638" y="2933"/>
                    <a:pt x="5658" y="2978"/>
                    <a:pt x="5691" y="3010"/>
                  </a:cubicBezTo>
                  <a:cubicBezTo>
                    <a:pt x="5723" y="3042"/>
                    <a:pt x="5768" y="3063"/>
                    <a:pt x="5818" y="3063"/>
                  </a:cubicBezTo>
                  <a:cubicBezTo>
                    <a:pt x="5867" y="3063"/>
                    <a:pt x="5912" y="3042"/>
                    <a:pt x="5944" y="3010"/>
                  </a:cubicBezTo>
                  <a:cubicBezTo>
                    <a:pt x="5977" y="2978"/>
                    <a:pt x="5997" y="2933"/>
                    <a:pt x="5997" y="2883"/>
                  </a:cubicBezTo>
                  <a:cubicBezTo>
                    <a:pt x="5997" y="2834"/>
                    <a:pt x="5977" y="2789"/>
                    <a:pt x="5944" y="2756"/>
                  </a:cubicBezTo>
                  <a:cubicBezTo>
                    <a:pt x="5912" y="2724"/>
                    <a:pt x="5867" y="2704"/>
                    <a:pt x="5818" y="2704"/>
                  </a:cubicBezTo>
                  <a:close/>
                  <a:moveTo>
                    <a:pt x="6323" y="1934"/>
                  </a:moveTo>
                  <a:cubicBezTo>
                    <a:pt x="6274" y="1934"/>
                    <a:pt x="6229" y="1955"/>
                    <a:pt x="6197" y="1987"/>
                  </a:cubicBezTo>
                  <a:cubicBezTo>
                    <a:pt x="6164" y="2019"/>
                    <a:pt x="6144" y="2064"/>
                    <a:pt x="6144" y="2114"/>
                  </a:cubicBezTo>
                  <a:cubicBezTo>
                    <a:pt x="6144" y="2163"/>
                    <a:pt x="6164" y="2208"/>
                    <a:pt x="6197" y="2241"/>
                  </a:cubicBezTo>
                  <a:cubicBezTo>
                    <a:pt x="6229" y="2273"/>
                    <a:pt x="6274" y="2293"/>
                    <a:pt x="6323" y="2293"/>
                  </a:cubicBezTo>
                  <a:cubicBezTo>
                    <a:pt x="6373" y="2293"/>
                    <a:pt x="6418" y="2273"/>
                    <a:pt x="6450" y="2241"/>
                  </a:cubicBezTo>
                  <a:cubicBezTo>
                    <a:pt x="6482" y="2208"/>
                    <a:pt x="6503" y="2163"/>
                    <a:pt x="6503" y="2114"/>
                  </a:cubicBezTo>
                  <a:cubicBezTo>
                    <a:pt x="6503" y="2064"/>
                    <a:pt x="6482" y="2019"/>
                    <a:pt x="6450" y="1987"/>
                  </a:cubicBezTo>
                  <a:cubicBezTo>
                    <a:pt x="6418" y="1955"/>
                    <a:pt x="6373" y="1934"/>
                    <a:pt x="6323" y="1934"/>
                  </a:cubicBezTo>
                  <a:close/>
                  <a:moveTo>
                    <a:pt x="979" y="1231"/>
                  </a:moveTo>
                  <a:cubicBezTo>
                    <a:pt x="946" y="1198"/>
                    <a:pt x="901" y="1178"/>
                    <a:pt x="852" y="1178"/>
                  </a:cubicBezTo>
                  <a:cubicBezTo>
                    <a:pt x="802" y="1178"/>
                    <a:pt x="757" y="1198"/>
                    <a:pt x="725" y="1231"/>
                  </a:cubicBezTo>
                  <a:cubicBezTo>
                    <a:pt x="693" y="1263"/>
                    <a:pt x="673" y="1308"/>
                    <a:pt x="673" y="1358"/>
                  </a:cubicBezTo>
                  <a:cubicBezTo>
                    <a:pt x="673" y="1407"/>
                    <a:pt x="693" y="1452"/>
                    <a:pt x="725" y="1484"/>
                  </a:cubicBezTo>
                  <a:cubicBezTo>
                    <a:pt x="757" y="1517"/>
                    <a:pt x="802" y="1537"/>
                    <a:pt x="852" y="1537"/>
                  </a:cubicBezTo>
                  <a:cubicBezTo>
                    <a:pt x="901" y="1537"/>
                    <a:pt x="946" y="1517"/>
                    <a:pt x="979" y="1484"/>
                  </a:cubicBezTo>
                  <a:cubicBezTo>
                    <a:pt x="1011" y="1452"/>
                    <a:pt x="1031" y="1407"/>
                    <a:pt x="1031" y="1358"/>
                  </a:cubicBezTo>
                  <a:cubicBezTo>
                    <a:pt x="1031" y="1308"/>
                    <a:pt x="1011" y="1263"/>
                    <a:pt x="979" y="1231"/>
                  </a:cubicBezTo>
                  <a:close/>
                  <a:moveTo>
                    <a:pt x="473" y="1987"/>
                  </a:moveTo>
                  <a:cubicBezTo>
                    <a:pt x="440" y="1955"/>
                    <a:pt x="396" y="1934"/>
                    <a:pt x="346" y="1934"/>
                  </a:cubicBezTo>
                  <a:cubicBezTo>
                    <a:pt x="296" y="1934"/>
                    <a:pt x="251" y="1955"/>
                    <a:pt x="219" y="1987"/>
                  </a:cubicBezTo>
                  <a:cubicBezTo>
                    <a:pt x="187" y="2019"/>
                    <a:pt x="167" y="2064"/>
                    <a:pt x="167" y="2114"/>
                  </a:cubicBezTo>
                  <a:cubicBezTo>
                    <a:pt x="167" y="2163"/>
                    <a:pt x="187" y="2208"/>
                    <a:pt x="219" y="2241"/>
                  </a:cubicBezTo>
                  <a:cubicBezTo>
                    <a:pt x="251" y="2273"/>
                    <a:pt x="296" y="2293"/>
                    <a:pt x="346" y="2293"/>
                  </a:cubicBezTo>
                  <a:cubicBezTo>
                    <a:pt x="396" y="2293"/>
                    <a:pt x="440" y="2273"/>
                    <a:pt x="473" y="2241"/>
                  </a:cubicBezTo>
                  <a:cubicBezTo>
                    <a:pt x="505" y="2208"/>
                    <a:pt x="525" y="2163"/>
                    <a:pt x="525" y="2114"/>
                  </a:cubicBezTo>
                  <a:cubicBezTo>
                    <a:pt x="525" y="2064"/>
                    <a:pt x="505" y="2019"/>
                    <a:pt x="473" y="1987"/>
                  </a:cubicBezTo>
                  <a:close/>
                  <a:moveTo>
                    <a:pt x="979" y="2756"/>
                  </a:moveTo>
                  <a:cubicBezTo>
                    <a:pt x="946" y="2724"/>
                    <a:pt x="901" y="2704"/>
                    <a:pt x="852" y="2704"/>
                  </a:cubicBezTo>
                  <a:cubicBezTo>
                    <a:pt x="802" y="2704"/>
                    <a:pt x="757" y="2724"/>
                    <a:pt x="725" y="2756"/>
                  </a:cubicBezTo>
                  <a:cubicBezTo>
                    <a:pt x="693" y="2789"/>
                    <a:pt x="673" y="2834"/>
                    <a:pt x="673" y="2883"/>
                  </a:cubicBezTo>
                  <a:cubicBezTo>
                    <a:pt x="673" y="2933"/>
                    <a:pt x="693" y="2978"/>
                    <a:pt x="725" y="3010"/>
                  </a:cubicBezTo>
                  <a:cubicBezTo>
                    <a:pt x="757" y="3042"/>
                    <a:pt x="802" y="3063"/>
                    <a:pt x="852" y="3063"/>
                  </a:cubicBezTo>
                  <a:cubicBezTo>
                    <a:pt x="901" y="3063"/>
                    <a:pt x="946" y="3042"/>
                    <a:pt x="979" y="3010"/>
                  </a:cubicBezTo>
                  <a:cubicBezTo>
                    <a:pt x="1011" y="2978"/>
                    <a:pt x="1031" y="2933"/>
                    <a:pt x="1031" y="2883"/>
                  </a:cubicBezTo>
                  <a:cubicBezTo>
                    <a:pt x="1031" y="2834"/>
                    <a:pt x="1011" y="2789"/>
                    <a:pt x="979" y="2756"/>
                  </a:cubicBezTo>
                  <a:close/>
                  <a:moveTo>
                    <a:pt x="3335" y="0"/>
                  </a:moveTo>
                  <a:cubicBezTo>
                    <a:pt x="3920" y="0"/>
                    <a:pt x="4451" y="237"/>
                    <a:pt x="4834" y="621"/>
                  </a:cubicBezTo>
                  <a:cubicBezTo>
                    <a:pt x="5021" y="807"/>
                    <a:pt x="5173" y="1029"/>
                    <a:pt x="5280" y="1274"/>
                  </a:cubicBezTo>
                  <a:lnTo>
                    <a:pt x="5482" y="1274"/>
                  </a:lnTo>
                  <a:cubicBezTo>
                    <a:pt x="5497" y="1212"/>
                    <a:pt x="5529" y="1157"/>
                    <a:pt x="5573" y="1113"/>
                  </a:cubicBezTo>
                  <a:cubicBezTo>
                    <a:pt x="5636" y="1050"/>
                    <a:pt x="5722" y="1012"/>
                    <a:pt x="5818" y="1012"/>
                  </a:cubicBezTo>
                  <a:cubicBezTo>
                    <a:pt x="5913" y="1012"/>
                    <a:pt x="5999" y="1050"/>
                    <a:pt x="6062" y="1113"/>
                  </a:cubicBezTo>
                  <a:cubicBezTo>
                    <a:pt x="6125" y="1176"/>
                    <a:pt x="6163" y="1262"/>
                    <a:pt x="6163" y="1358"/>
                  </a:cubicBezTo>
                  <a:cubicBezTo>
                    <a:pt x="6163" y="1453"/>
                    <a:pt x="6125" y="1540"/>
                    <a:pt x="6062" y="1602"/>
                  </a:cubicBezTo>
                  <a:cubicBezTo>
                    <a:pt x="5999" y="1665"/>
                    <a:pt x="5913" y="1704"/>
                    <a:pt x="5818" y="1704"/>
                  </a:cubicBezTo>
                  <a:cubicBezTo>
                    <a:pt x="5722" y="1704"/>
                    <a:pt x="5636" y="1665"/>
                    <a:pt x="5573" y="1602"/>
                  </a:cubicBezTo>
                  <a:cubicBezTo>
                    <a:pt x="5529" y="1559"/>
                    <a:pt x="5497" y="1503"/>
                    <a:pt x="5482" y="1441"/>
                  </a:cubicBezTo>
                  <a:lnTo>
                    <a:pt x="5344" y="1441"/>
                  </a:lnTo>
                  <a:cubicBezTo>
                    <a:pt x="5407" y="1627"/>
                    <a:pt x="5445" y="1825"/>
                    <a:pt x="5453" y="2030"/>
                  </a:cubicBezTo>
                  <a:lnTo>
                    <a:pt x="5987" y="2030"/>
                  </a:lnTo>
                  <a:cubicBezTo>
                    <a:pt x="6003" y="1968"/>
                    <a:pt x="6035" y="1913"/>
                    <a:pt x="6079" y="1869"/>
                  </a:cubicBezTo>
                  <a:cubicBezTo>
                    <a:pt x="6141" y="1807"/>
                    <a:pt x="6228" y="1768"/>
                    <a:pt x="6323" y="1768"/>
                  </a:cubicBezTo>
                  <a:cubicBezTo>
                    <a:pt x="6419" y="1768"/>
                    <a:pt x="6505" y="1807"/>
                    <a:pt x="6568" y="1869"/>
                  </a:cubicBezTo>
                  <a:cubicBezTo>
                    <a:pt x="6631" y="1932"/>
                    <a:pt x="6669" y="2018"/>
                    <a:pt x="6669" y="2114"/>
                  </a:cubicBezTo>
                  <a:cubicBezTo>
                    <a:pt x="6669" y="2209"/>
                    <a:pt x="6631" y="2296"/>
                    <a:pt x="6568" y="2358"/>
                  </a:cubicBezTo>
                  <a:cubicBezTo>
                    <a:pt x="6505" y="2421"/>
                    <a:pt x="6419" y="2460"/>
                    <a:pt x="6323" y="2460"/>
                  </a:cubicBezTo>
                  <a:cubicBezTo>
                    <a:pt x="6228" y="2460"/>
                    <a:pt x="6141" y="2421"/>
                    <a:pt x="6079" y="2358"/>
                  </a:cubicBezTo>
                  <a:cubicBezTo>
                    <a:pt x="6035" y="2315"/>
                    <a:pt x="6003" y="2259"/>
                    <a:pt x="5987" y="2197"/>
                  </a:cubicBezTo>
                  <a:lnTo>
                    <a:pt x="5454" y="2197"/>
                  </a:lnTo>
                  <a:cubicBezTo>
                    <a:pt x="5447" y="2407"/>
                    <a:pt x="5409" y="2610"/>
                    <a:pt x="5344" y="2800"/>
                  </a:cubicBezTo>
                  <a:lnTo>
                    <a:pt x="5482" y="2800"/>
                  </a:lnTo>
                  <a:cubicBezTo>
                    <a:pt x="5497" y="2738"/>
                    <a:pt x="5529" y="2682"/>
                    <a:pt x="5573" y="2639"/>
                  </a:cubicBezTo>
                  <a:cubicBezTo>
                    <a:pt x="5636" y="2576"/>
                    <a:pt x="5722" y="2537"/>
                    <a:pt x="5818" y="2537"/>
                  </a:cubicBezTo>
                  <a:cubicBezTo>
                    <a:pt x="5913" y="2537"/>
                    <a:pt x="5999" y="2576"/>
                    <a:pt x="6062" y="2639"/>
                  </a:cubicBezTo>
                  <a:cubicBezTo>
                    <a:pt x="6125" y="2701"/>
                    <a:pt x="6163" y="2788"/>
                    <a:pt x="6163" y="2883"/>
                  </a:cubicBezTo>
                  <a:cubicBezTo>
                    <a:pt x="6163" y="2979"/>
                    <a:pt x="6125" y="3065"/>
                    <a:pt x="6062" y="3128"/>
                  </a:cubicBezTo>
                  <a:cubicBezTo>
                    <a:pt x="5999" y="3190"/>
                    <a:pt x="5913" y="3229"/>
                    <a:pt x="5818" y="3229"/>
                  </a:cubicBezTo>
                  <a:cubicBezTo>
                    <a:pt x="5722" y="3229"/>
                    <a:pt x="5636" y="3190"/>
                    <a:pt x="5573" y="3128"/>
                  </a:cubicBezTo>
                  <a:cubicBezTo>
                    <a:pt x="5529" y="3084"/>
                    <a:pt x="5497" y="3029"/>
                    <a:pt x="5482" y="2967"/>
                  </a:cubicBezTo>
                  <a:lnTo>
                    <a:pt x="5280" y="2967"/>
                  </a:lnTo>
                  <a:cubicBezTo>
                    <a:pt x="5173" y="3212"/>
                    <a:pt x="5021" y="3433"/>
                    <a:pt x="4834" y="3620"/>
                  </a:cubicBezTo>
                  <a:cubicBezTo>
                    <a:pt x="4451" y="4004"/>
                    <a:pt x="3920" y="4241"/>
                    <a:pt x="3335" y="4241"/>
                  </a:cubicBezTo>
                  <a:cubicBezTo>
                    <a:pt x="2749" y="4241"/>
                    <a:pt x="2219" y="4004"/>
                    <a:pt x="1835" y="3620"/>
                  </a:cubicBezTo>
                  <a:cubicBezTo>
                    <a:pt x="1648" y="3433"/>
                    <a:pt x="1496" y="3212"/>
                    <a:pt x="1389" y="2967"/>
                  </a:cubicBezTo>
                  <a:lnTo>
                    <a:pt x="1188" y="2967"/>
                  </a:lnTo>
                  <a:cubicBezTo>
                    <a:pt x="1172" y="3029"/>
                    <a:pt x="1140" y="3084"/>
                    <a:pt x="1096" y="3128"/>
                  </a:cubicBezTo>
                  <a:cubicBezTo>
                    <a:pt x="1034" y="3190"/>
                    <a:pt x="947" y="3229"/>
                    <a:pt x="852" y="3229"/>
                  </a:cubicBezTo>
                  <a:cubicBezTo>
                    <a:pt x="756" y="3229"/>
                    <a:pt x="670" y="3190"/>
                    <a:pt x="607" y="3128"/>
                  </a:cubicBezTo>
                  <a:cubicBezTo>
                    <a:pt x="545" y="3065"/>
                    <a:pt x="506" y="2979"/>
                    <a:pt x="506" y="2883"/>
                  </a:cubicBezTo>
                  <a:cubicBezTo>
                    <a:pt x="506" y="2788"/>
                    <a:pt x="545" y="2701"/>
                    <a:pt x="607" y="2639"/>
                  </a:cubicBezTo>
                  <a:cubicBezTo>
                    <a:pt x="670" y="2576"/>
                    <a:pt x="756" y="2537"/>
                    <a:pt x="852" y="2537"/>
                  </a:cubicBezTo>
                  <a:cubicBezTo>
                    <a:pt x="947" y="2537"/>
                    <a:pt x="1034" y="2576"/>
                    <a:pt x="1096" y="2639"/>
                  </a:cubicBezTo>
                  <a:cubicBezTo>
                    <a:pt x="1140" y="2682"/>
                    <a:pt x="1172" y="2738"/>
                    <a:pt x="1188" y="2800"/>
                  </a:cubicBezTo>
                  <a:lnTo>
                    <a:pt x="1325" y="2800"/>
                  </a:lnTo>
                  <a:cubicBezTo>
                    <a:pt x="1261" y="2610"/>
                    <a:pt x="1223" y="2407"/>
                    <a:pt x="1215" y="2197"/>
                  </a:cubicBezTo>
                  <a:lnTo>
                    <a:pt x="682" y="2197"/>
                  </a:lnTo>
                  <a:cubicBezTo>
                    <a:pt x="667" y="2259"/>
                    <a:pt x="634" y="2315"/>
                    <a:pt x="591" y="2358"/>
                  </a:cubicBezTo>
                  <a:cubicBezTo>
                    <a:pt x="528" y="2421"/>
                    <a:pt x="441" y="2460"/>
                    <a:pt x="346" y="2460"/>
                  </a:cubicBezTo>
                  <a:cubicBezTo>
                    <a:pt x="250" y="2460"/>
                    <a:pt x="164" y="2421"/>
                    <a:pt x="101" y="2358"/>
                  </a:cubicBezTo>
                  <a:cubicBezTo>
                    <a:pt x="39" y="2296"/>
                    <a:pt x="0" y="2209"/>
                    <a:pt x="0" y="2114"/>
                  </a:cubicBezTo>
                  <a:cubicBezTo>
                    <a:pt x="0" y="2018"/>
                    <a:pt x="39" y="1932"/>
                    <a:pt x="101" y="1869"/>
                  </a:cubicBezTo>
                  <a:cubicBezTo>
                    <a:pt x="164" y="1807"/>
                    <a:pt x="250" y="1768"/>
                    <a:pt x="346" y="1768"/>
                  </a:cubicBezTo>
                  <a:cubicBezTo>
                    <a:pt x="441" y="1768"/>
                    <a:pt x="528" y="1807"/>
                    <a:pt x="591" y="1869"/>
                  </a:cubicBezTo>
                  <a:cubicBezTo>
                    <a:pt x="634" y="1913"/>
                    <a:pt x="667" y="1968"/>
                    <a:pt x="682" y="2030"/>
                  </a:cubicBezTo>
                  <a:lnTo>
                    <a:pt x="1216" y="2030"/>
                  </a:lnTo>
                  <a:cubicBezTo>
                    <a:pt x="1225" y="1825"/>
                    <a:pt x="1262" y="1627"/>
                    <a:pt x="1325" y="1441"/>
                  </a:cubicBezTo>
                  <a:lnTo>
                    <a:pt x="1188" y="1441"/>
                  </a:lnTo>
                  <a:cubicBezTo>
                    <a:pt x="1172" y="1503"/>
                    <a:pt x="1140" y="1559"/>
                    <a:pt x="1096" y="1602"/>
                  </a:cubicBezTo>
                  <a:cubicBezTo>
                    <a:pt x="1034" y="1665"/>
                    <a:pt x="947" y="1704"/>
                    <a:pt x="852" y="1704"/>
                  </a:cubicBezTo>
                  <a:cubicBezTo>
                    <a:pt x="756" y="1704"/>
                    <a:pt x="670" y="1665"/>
                    <a:pt x="607" y="1602"/>
                  </a:cubicBezTo>
                  <a:cubicBezTo>
                    <a:pt x="545" y="1540"/>
                    <a:pt x="506" y="1453"/>
                    <a:pt x="506" y="1358"/>
                  </a:cubicBezTo>
                  <a:cubicBezTo>
                    <a:pt x="506" y="1262"/>
                    <a:pt x="545" y="1176"/>
                    <a:pt x="607" y="1113"/>
                  </a:cubicBezTo>
                  <a:cubicBezTo>
                    <a:pt x="670" y="1050"/>
                    <a:pt x="756" y="1012"/>
                    <a:pt x="852" y="1012"/>
                  </a:cubicBezTo>
                  <a:cubicBezTo>
                    <a:pt x="947" y="1012"/>
                    <a:pt x="1034" y="1050"/>
                    <a:pt x="1096" y="1113"/>
                  </a:cubicBezTo>
                  <a:cubicBezTo>
                    <a:pt x="1140" y="1157"/>
                    <a:pt x="1172" y="1212"/>
                    <a:pt x="1188" y="1274"/>
                  </a:cubicBezTo>
                  <a:lnTo>
                    <a:pt x="1389" y="1274"/>
                  </a:lnTo>
                  <a:cubicBezTo>
                    <a:pt x="1496" y="1029"/>
                    <a:pt x="1648" y="807"/>
                    <a:pt x="1835" y="621"/>
                  </a:cubicBezTo>
                  <a:cubicBezTo>
                    <a:pt x="2219" y="237"/>
                    <a:pt x="2749" y="0"/>
                    <a:pt x="3335" y="0"/>
                  </a:cubicBezTo>
                  <a:close/>
                  <a:moveTo>
                    <a:pt x="4058" y="2933"/>
                  </a:moveTo>
                  <a:cubicBezTo>
                    <a:pt x="4091" y="2821"/>
                    <a:pt x="4117" y="2701"/>
                    <a:pt x="4136" y="2574"/>
                  </a:cubicBezTo>
                  <a:cubicBezTo>
                    <a:pt x="4154" y="2451"/>
                    <a:pt x="4165" y="2323"/>
                    <a:pt x="4167" y="2190"/>
                  </a:cubicBezTo>
                  <a:lnTo>
                    <a:pt x="3404" y="2190"/>
                  </a:lnTo>
                  <a:lnTo>
                    <a:pt x="3404" y="2851"/>
                  </a:lnTo>
                  <a:cubicBezTo>
                    <a:pt x="3519" y="2854"/>
                    <a:pt x="3631" y="2862"/>
                    <a:pt x="3739" y="2875"/>
                  </a:cubicBezTo>
                  <a:cubicBezTo>
                    <a:pt x="3849" y="2889"/>
                    <a:pt x="3956" y="2909"/>
                    <a:pt x="4058" y="2933"/>
                  </a:cubicBezTo>
                  <a:close/>
                  <a:moveTo>
                    <a:pt x="3404" y="3763"/>
                  </a:moveTo>
                  <a:cubicBezTo>
                    <a:pt x="3498" y="3747"/>
                    <a:pt x="3588" y="3699"/>
                    <a:pt x="3671" y="3625"/>
                  </a:cubicBezTo>
                  <a:cubicBezTo>
                    <a:pt x="3760" y="3546"/>
                    <a:pt x="3842" y="3436"/>
                    <a:pt x="3912" y="3303"/>
                  </a:cubicBezTo>
                  <a:cubicBezTo>
                    <a:pt x="3932" y="3265"/>
                    <a:pt x="3951" y="3225"/>
                    <a:pt x="3968" y="3184"/>
                  </a:cubicBezTo>
                  <a:cubicBezTo>
                    <a:pt x="3985" y="3146"/>
                    <a:pt x="4001" y="3106"/>
                    <a:pt x="4015" y="3065"/>
                  </a:cubicBezTo>
                  <a:cubicBezTo>
                    <a:pt x="3921" y="3043"/>
                    <a:pt x="3822" y="3025"/>
                    <a:pt x="3718" y="3013"/>
                  </a:cubicBezTo>
                  <a:cubicBezTo>
                    <a:pt x="3617" y="3000"/>
                    <a:pt x="3512" y="2993"/>
                    <a:pt x="3404" y="2990"/>
                  </a:cubicBezTo>
                  <a:lnTo>
                    <a:pt x="3404" y="3763"/>
                  </a:lnTo>
                  <a:close/>
                  <a:moveTo>
                    <a:pt x="2654" y="3065"/>
                  </a:moveTo>
                  <a:cubicBezTo>
                    <a:pt x="2669" y="3106"/>
                    <a:pt x="2685" y="3146"/>
                    <a:pt x="2701" y="3184"/>
                  </a:cubicBezTo>
                  <a:cubicBezTo>
                    <a:pt x="2719" y="3225"/>
                    <a:pt x="2737" y="3265"/>
                    <a:pt x="2757" y="3303"/>
                  </a:cubicBezTo>
                  <a:cubicBezTo>
                    <a:pt x="2827" y="3436"/>
                    <a:pt x="2909" y="3546"/>
                    <a:pt x="2998" y="3625"/>
                  </a:cubicBezTo>
                  <a:cubicBezTo>
                    <a:pt x="3081" y="3699"/>
                    <a:pt x="3171" y="3747"/>
                    <a:pt x="3265" y="3763"/>
                  </a:cubicBezTo>
                  <a:lnTo>
                    <a:pt x="3265" y="2990"/>
                  </a:lnTo>
                  <a:cubicBezTo>
                    <a:pt x="3158" y="2993"/>
                    <a:pt x="3053" y="3000"/>
                    <a:pt x="2951" y="3013"/>
                  </a:cubicBezTo>
                  <a:cubicBezTo>
                    <a:pt x="2848" y="3025"/>
                    <a:pt x="2748" y="3043"/>
                    <a:pt x="2654" y="3065"/>
                  </a:cubicBezTo>
                  <a:close/>
                  <a:moveTo>
                    <a:pt x="2502" y="2190"/>
                  </a:moveTo>
                  <a:cubicBezTo>
                    <a:pt x="2505" y="2323"/>
                    <a:pt x="2516" y="2451"/>
                    <a:pt x="2533" y="2574"/>
                  </a:cubicBezTo>
                  <a:cubicBezTo>
                    <a:pt x="2552" y="2701"/>
                    <a:pt x="2578" y="2821"/>
                    <a:pt x="2611" y="2933"/>
                  </a:cubicBezTo>
                  <a:cubicBezTo>
                    <a:pt x="2713" y="2909"/>
                    <a:pt x="2820" y="2889"/>
                    <a:pt x="2930" y="2875"/>
                  </a:cubicBezTo>
                  <a:cubicBezTo>
                    <a:pt x="3038" y="2862"/>
                    <a:pt x="3150" y="2854"/>
                    <a:pt x="3265" y="2851"/>
                  </a:cubicBezTo>
                  <a:lnTo>
                    <a:pt x="3265" y="2190"/>
                  </a:lnTo>
                  <a:lnTo>
                    <a:pt x="2502" y="2190"/>
                  </a:lnTo>
                  <a:close/>
                  <a:moveTo>
                    <a:pt x="2611" y="1308"/>
                  </a:moveTo>
                  <a:cubicBezTo>
                    <a:pt x="2578" y="1420"/>
                    <a:pt x="2552" y="1540"/>
                    <a:pt x="2533" y="1666"/>
                  </a:cubicBezTo>
                  <a:cubicBezTo>
                    <a:pt x="2516" y="1789"/>
                    <a:pt x="2505" y="1918"/>
                    <a:pt x="2502" y="2051"/>
                  </a:cubicBezTo>
                  <a:lnTo>
                    <a:pt x="3265" y="2051"/>
                  </a:lnTo>
                  <a:lnTo>
                    <a:pt x="3265" y="1389"/>
                  </a:lnTo>
                  <a:cubicBezTo>
                    <a:pt x="3150" y="1387"/>
                    <a:pt x="3038" y="1379"/>
                    <a:pt x="2930" y="1365"/>
                  </a:cubicBezTo>
                  <a:cubicBezTo>
                    <a:pt x="2820" y="1352"/>
                    <a:pt x="2713" y="1332"/>
                    <a:pt x="2611" y="1308"/>
                  </a:cubicBezTo>
                  <a:close/>
                  <a:moveTo>
                    <a:pt x="3265" y="478"/>
                  </a:moveTo>
                  <a:cubicBezTo>
                    <a:pt x="3171" y="494"/>
                    <a:pt x="3081" y="542"/>
                    <a:pt x="2998" y="616"/>
                  </a:cubicBezTo>
                  <a:cubicBezTo>
                    <a:pt x="2909" y="695"/>
                    <a:pt x="2827" y="805"/>
                    <a:pt x="2757" y="938"/>
                  </a:cubicBezTo>
                  <a:cubicBezTo>
                    <a:pt x="2737" y="976"/>
                    <a:pt x="2719" y="1016"/>
                    <a:pt x="2701" y="1057"/>
                  </a:cubicBezTo>
                  <a:cubicBezTo>
                    <a:pt x="2685" y="1095"/>
                    <a:pt x="2669" y="1135"/>
                    <a:pt x="2654" y="1176"/>
                  </a:cubicBezTo>
                  <a:cubicBezTo>
                    <a:pt x="2748" y="1198"/>
                    <a:pt x="2848" y="1216"/>
                    <a:pt x="2951" y="1228"/>
                  </a:cubicBezTo>
                  <a:cubicBezTo>
                    <a:pt x="3053" y="1241"/>
                    <a:pt x="3158" y="1248"/>
                    <a:pt x="3265" y="1250"/>
                  </a:cubicBezTo>
                  <a:lnTo>
                    <a:pt x="3265" y="478"/>
                  </a:lnTo>
                  <a:close/>
                  <a:moveTo>
                    <a:pt x="3912" y="938"/>
                  </a:moveTo>
                  <a:cubicBezTo>
                    <a:pt x="3842" y="805"/>
                    <a:pt x="3760" y="695"/>
                    <a:pt x="3671" y="616"/>
                  </a:cubicBezTo>
                  <a:cubicBezTo>
                    <a:pt x="3588" y="542"/>
                    <a:pt x="3498" y="494"/>
                    <a:pt x="3404" y="478"/>
                  </a:cubicBezTo>
                  <a:lnTo>
                    <a:pt x="3404" y="1250"/>
                  </a:lnTo>
                  <a:cubicBezTo>
                    <a:pt x="3512" y="1248"/>
                    <a:pt x="3617" y="1241"/>
                    <a:pt x="3718" y="1228"/>
                  </a:cubicBezTo>
                  <a:cubicBezTo>
                    <a:pt x="3822" y="1216"/>
                    <a:pt x="3921" y="1198"/>
                    <a:pt x="4015" y="1176"/>
                  </a:cubicBezTo>
                  <a:cubicBezTo>
                    <a:pt x="4001" y="1135"/>
                    <a:pt x="3985" y="1095"/>
                    <a:pt x="3968" y="1057"/>
                  </a:cubicBezTo>
                  <a:cubicBezTo>
                    <a:pt x="3951" y="1016"/>
                    <a:pt x="3932" y="976"/>
                    <a:pt x="3912" y="938"/>
                  </a:cubicBezTo>
                  <a:close/>
                  <a:moveTo>
                    <a:pt x="2519" y="1141"/>
                  </a:moveTo>
                  <a:cubicBezTo>
                    <a:pt x="2536" y="1094"/>
                    <a:pt x="2553" y="1049"/>
                    <a:pt x="2572" y="1006"/>
                  </a:cubicBezTo>
                  <a:cubicBezTo>
                    <a:pt x="2592" y="960"/>
                    <a:pt x="2613" y="916"/>
                    <a:pt x="2635" y="874"/>
                  </a:cubicBezTo>
                  <a:cubicBezTo>
                    <a:pt x="2674" y="799"/>
                    <a:pt x="2716" y="731"/>
                    <a:pt x="2762" y="670"/>
                  </a:cubicBezTo>
                  <a:cubicBezTo>
                    <a:pt x="2800" y="620"/>
                    <a:pt x="2840" y="575"/>
                    <a:pt x="2881" y="536"/>
                  </a:cubicBezTo>
                  <a:cubicBezTo>
                    <a:pt x="2752" y="573"/>
                    <a:pt x="2629" y="625"/>
                    <a:pt x="2515" y="690"/>
                  </a:cubicBezTo>
                  <a:cubicBezTo>
                    <a:pt x="2388" y="763"/>
                    <a:pt x="2272" y="852"/>
                    <a:pt x="2169" y="955"/>
                  </a:cubicBezTo>
                  <a:lnTo>
                    <a:pt x="2169" y="955"/>
                  </a:lnTo>
                  <a:cubicBezTo>
                    <a:pt x="2163" y="961"/>
                    <a:pt x="2156" y="968"/>
                    <a:pt x="2150" y="975"/>
                  </a:cubicBezTo>
                  <a:cubicBezTo>
                    <a:pt x="2146" y="979"/>
                    <a:pt x="2142" y="983"/>
                    <a:pt x="2138" y="987"/>
                  </a:cubicBezTo>
                  <a:cubicBezTo>
                    <a:pt x="2194" y="1017"/>
                    <a:pt x="2253" y="1045"/>
                    <a:pt x="2316" y="1070"/>
                  </a:cubicBezTo>
                  <a:cubicBezTo>
                    <a:pt x="2380" y="1096"/>
                    <a:pt x="2448" y="1120"/>
                    <a:pt x="2519" y="1141"/>
                  </a:cubicBezTo>
                  <a:close/>
                  <a:moveTo>
                    <a:pt x="2363" y="2051"/>
                  </a:moveTo>
                  <a:cubicBezTo>
                    <a:pt x="2366" y="1912"/>
                    <a:pt x="2377" y="1777"/>
                    <a:pt x="2396" y="1649"/>
                  </a:cubicBezTo>
                  <a:cubicBezTo>
                    <a:pt x="2415" y="1517"/>
                    <a:pt x="2443" y="1390"/>
                    <a:pt x="2477" y="1272"/>
                  </a:cubicBezTo>
                  <a:cubicBezTo>
                    <a:pt x="2397" y="1249"/>
                    <a:pt x="2320" y="1222"/>
                    <a:pt x="2248" y="1192"/>
                  </a:cubicBezTo>
                  <a:cubicBezTo>
                    <a:pt x="2176" y="1162"/>
                    <a:pt x="2108" y="1130"/>
                    <a:pt x="2045" y="1094"/>
                  </a:cubicBezTo>
                  <a:lnTo>
                    <a:pt x="2039" y="1101"/>
                  </a:lnTo>
                  <a:lnTo>
                    <a:pt x="2038" y="1103"/>
                  </a:lnTo>
                  <a:lnTo>
                    <a:pt x="2038" y="1103"/>
                  </a:lnTo>
                  <a:lnTo>
                    <a:pt x="2034" y="1108"/>
                  </a:lnTo>
                  <a:cubicBezTo>
                    <a:pt x="2031" y="1111"/>
                    <a:pt x="2028" y="1116"/>
                    <a:pt x="2024" y="1121"/>
                  </a:cubicBezTo>
                  <a:cubicBezTo>
                    <a:pt x="2020" y="1126"/>
                    <a:pt x="2017" y="1130"/>
                    <a:pt x="2014" y="1134"/>
                  </a:cubicBezTo>
                  <a:lnTo>
                    <a:pt x="2014" y="1134"/>
                  </a:lnTo>
                  <a:lnTo>
                    <a:pt x="2014" y="1134"/>
                  </a:lnTo>
                  <a:cubicBezTo>
                    <a:pt x="2010" y="1140"/>
                    <a:pt x="2006" y="1145"/>
                    <a:pt x="2002" y="1150"/>
                  </a:cubicBezTo>
                  <a:cubicBezTo>
                    <a:pt x="1999" y="1155"/>
                    <a:pt x="1995" y="1160"/>
                    <a:pt x="1990" y="1166"/>
                  </a:cubicBezTo>
                  <a:lnTo>
                    <a:pt x="1990" y="1166"/>
                  </a:lnTo>
                  <a:lnTo>
                    <a:pt x="1990" y="1167"/>
                  </a:lnTo>
                  <a:lnTo>
                    <a:pt x="1990" y="1167"/>
                  </a:lnTo>
                  <a:cubicBezTo>
                    <a:pt x="1981" y="1180"/>
                    <a:pt x="1972" y="1192"/>
                    <a:pt x="1964" y="1205"/>
                  </a:cubicBezTo>
                  <a:cubicBezTo>
                    <a:pt x="1955" y="1218"/>
                    <a:pt x="1947" y="1230"/>
                    <a:pt x="1939" y="1243"/>
                  </a:cubicBezTo>
                  <a:lnTo>
                    <a:pt x="1939" y="1243"/>
                  </a:lnTo>
                  <a:lnTo>
                    <a:pt x="1936" y="1249"/>
                  </a:lnTo>
                  <a:lnTo>
                    <a:pt x="1935" y="1249"/>
                  </a:lnTo>
                  <a:lnTo>
                    <a:pt x="1935" y="1250"/>
                  </a:lnTo>
                  <a:lnTo>
                    <a:pt x="1926" y="1264"/>
                  </a:lnTo>
                  <a:lnTo>
                    <a:pt x="1926" y="1264"/>
                  </a:lnTo>
                  <a:lnTo>
                    <a:pt x="1925" y="1266"/>
                  </a:lnTo>
                  <a:lnTo>
                    <a:pt x="1925" y="1266"/>
                  </a:lnTo>
                  <a:lnTo>
                    <a:pt x="1915" y="1283"/>
                  </a:lnTo>
                  <a:lnTo>
                    <a:pt x="1915" y="1283"/>
                  </a:lnTo>
                  <a:lnTo>
                    <a:pt x="1913" y="1286"/>
                  </a:lnTo>
                  <a:lnTo>
                    <a:pt x="1913" y="1286"/>
                  </a:lnTo>
                  <a:cubicBezTo>
                    <a:pt x="1887" y="1331"/>
                    <a:pt x="1862" y="1378"/>
                    <a:pt x="1839" y="1426"/>
                  </a:cubicBezTo>
                  <a:cubicBezTo>
                    <a:pt x="1817" y="1474"/>
                    <a:pt x="1797" y="1523"/>
                    <a:pt x="1780" y="1573"/>
                  </a:cubicBezTo>
                  <a:lnTo>
                    <a:pt x="1780" y="1573"/>
                  </a:lnTo>
                  <a:lnTo>
                    <a:pt x="1779" y="1575"/>
                  </a:lnTo>
                  <a:lnTo>
                    <a:pt x="1779" y="1575"/>
                  </a:lnTo>
                  <a:lnTo>
                    <a:pt x="1773" y="1592"/>
                  </a:lnTo>
                  <a:lnTo>
                    <a:pt x="1773" y="1592"/>
                  </a:lnTo>
                  <a:lnTo>
                    <a:pt x="1773" y="1592"/>
                  </a:lnTo>
                  <a:cubicBezTo>
                    <a:pt x="1766" y="1614"/>
                    <a:pt x="1758" y="1637"/>
                    <a:pt x="1752" y="1660"/>
                  </a:cubicBezTo>
                  <a:cubicBezTo>
                    <a:pt x="1745" y="1682"/>
                    <a:pt x="1739" y="1705"/>
                    <a:pt x="1733" y="1728"/>
                  </a:cubicBezTo>
                  <a:lnTo>
                    <a:pt x="1733" y="1729"/>
                  </a:lnTo>
                  <a:lnTo>
                    <a:pt x="1733" y="1729"/>
                  </a:lnTo>
                  <a:cubicBezTo>
                    <a:pt x="1731" y="1739"/>
                    <a:pt x="1729" y="1749"/>
                    <a:pt x="1727" y="1758"/>
                  </a:cubicBezTo>
                  <a:cubicBezTo>
                    <a:pt x="1724" y="1768"/>
                    <a:pt x="1722" y="1778"/>
                    <a:pt x="1720" y="1788"/>
                  </a:cubicBezTo>
                  <a:lnTo>
                    <a:pt x="1720" y="1788"/>
                  </a:lnTo>
                  <a:lnTo>
                    <a:pt x="1720" y="1791"/>
                  </a:lnTo>
                  <a:lnTo>
                    <a:pt x="1720" y="1791"/>
                  </a:lnTo>
                  <a:lnTo>
                    <a:pt x="1716" y="1808"/>
                  </a:lnTo>
                  <a:lnTo>
                    <a:pt x="1716" y="1810"/>
                  </a:lnTo>
                  <a:lnTo>
                    <a:pt x="1716" y="1810"/>
                  </a:lnTo>
                  <a:lnTo>
                    <a:pt x="1713" y="1826"/>
                  </a:lnTo>
                  <a:lnTo>
                    <a:pt x="1713" y="1826"/>
                  </a:lnTo>
                  <a:lnTo>
                    <a:pt x="1712" y="1829"/>
                  </a:lnTo>
                  <a:lnTo>
                    <a:pt x="1711" y="1835"/>
                  </a:lnTo>
                  <a:lnTo>
                    <a:pt x="1711" y="1835"/>
                  </a:lnTo>
                  <a:lnTo>
                    <a:pt x="1710" y="1844"/>
                  </a:lnTo>
                  <a:lnTo>
                    <a:pt x="1710" y="1844"/>
                  </a:lnTo>
                  <a:lnTo>
                    <a:pt x="1709" y="1849"/>
                  </a:lnTo>
                  <a:lnTo>
                    <a:pt x="1709" y="1849"/>
                  </a:lnTo>
                  <a:cubicBezTo>
                    <a:pt x="1708" y="1855"/>
                    <a:pt x="1707" y="1861"/>
                    <a:pt x="1705" y="1869"/>
                  </a:cubicBezTo>
                  <a:cubicBezTo>
                    <a:pt x="1704" y="1877"/>
                    <a:pt x="1703" y="1883"/>
                    <a:pt x="1702" y="1889"/>
                  </a:cubicBezTo>
                  <a:lnTo>
                    <a:pt x="1702" y="1889"/>
                  </a:lnTo>
                  <a:lnTo>
                    <a:pt x="1702" y="1890"/>
                  </a:lnTo>
                  <a:lnTo>
                    <a:pt x="1702" y="1890"/>
                  </a:lnTo>
                  <a:cubicBezTo>
                    <a:pt x="1701" y="1900"/>
                    <a:pt x="1700" y="1910"/>
                    <a:pt x="1699" y="1921"/>
                  </a:cubicBezTo>
                  <a:cubicBezTo>
                    <a:pt x="1697" y="1932"/>
                    <a:pt x="1696" y="1942"/>
                    <a:pt x="1695" y="1952"/>
                  </a:cubicBezTo>
                  <a:lnTo>
                    <a:pt x="1695" y="1953"/>
                  </a:lnTo>
                  <a:lnTo>
                    <a:pt x="1695" y="1953"/>
                  </a:lnTo>
                  <a:lnTo>
                    <a:pt x="1694" y="1962"/>
                  </a:lnTo>
                  <a:lnTo>
                    <a:pt x="1694" y="1962"/>
                  </a:lnTo>
                  <a:lnTo>
                    <a:pt x="1693" y="1972"/>
                  </a:lnTo>
                  <a:lnTo>
                    <a:pt x="1693" y="1973"/>
                  </a:lnTo>
                  <a:lnTo>
                    <a:pt x="1693" y="1973"/>
                  </a:lnTo>
                  <a:lnTo>
                    <a:pt x="1693" y="1981"/>
                  </a:lnTo>
                  <a:lnTo>
                    <a:pt x="1693" y="1981"/>
                  </a:lnTo>
                  <a:lnTo>
                    <a:pt x="1692" y="1990"/>
                  </a:lnTo>
                  <a:lnTo>
                    <a:pt x="1692" y="1990"/>
                  </a:lnTo>
                  <a:lnTo>
                    <a:pt x="1691" y="1994"/>
                  </a:lnTo>
                  <a:lnTo>
                    <a:pt x="1690" y="2008"/>
                  </a:lnTo>
                  <a:lnTo>
                    <a:pt x="1690" y="2015"/>
                  </a:lnTo>
                  <a:lnTo>
                    <a:pt x="1690" y="2018"/>
                  </a:lnTo>
                  <a:lnTo>
                    <a:pt x="1690" y="2018"/>
                  </a:lnTo>
                  <a:lnTo>
                    <a:pt x="1689" y="2036"/>
                  </a:lnTo>
                  <a:lnTo>
                    <a:pt x="1689" y="2036"/>
                  </a:lnTo>
                  <a:lnTo>
                    <a:pt x="1689" y="2036"/>
                  </a:lnTo>
                  <a:lnTo>
                    <a:pt x="1688" y="2046"/>
                  </a:lnTo>
                  <a:lnTo>
                    <a:pt x="1688" y="2051"/>
                  </a:lnTo>
                  <a:lnTo>
                    <a:pt x="2363" y="2051"/>
                  </a:lnTo>
                  <a:close/>
                  <a:moveTo>
                    <a:pt x="2477" y="2968"/>
                  </a:moveTo>
                  <a:cubicBezTo>
                    <a:pt x="2443" y="2850"/>
                    <a:pt x="2415" y="2724"/>
                    <a:pt x="2396" y="2592"/>
                  </a:cubicBezTo>
                  <a:cubicBezTo>
                    <a:pt x="2377" y="2463"/>
                    <a:pt x="2366" y="2329"/>
                    <a:pt x="2363" y="2190"/>
                  </a:cubicBezTo>
                  <a:lnTo>
                    <a:pt x="1688" y="2190"/>
                  </a:lnTo>
                  <a:lnTo>
                    <a:pt x="1688" y="2195"/>
                  </a:lnTo>
                  <a:lnTo>
                    <a:pt x="1689" y="2205"/>
                  </a:lnTo>
                  <a:lnTo>
                    <a:pt x="1689" y="2205"/>
                  </a:lnTo>
                  <a:lnTo>
                    <a:pt x="1689" y="2205"/>
                  </a:lnTo>
                  <a:lnTo>
                    <a:pt x="1690" y="2223"/>
                  </a:lnTo>
                  <a:lnTo>
                    <a:pt x="1690" y="2223"/>
                  </a:lnTo>
                  <a:lnTo>
                    <a:pt x="1690" y="2226"/>
                  </a:lnTo>
                  <a:lnTo>
                    <a:pt x="1690" y="2232"/>
                  </a:lnTo>
                  <a:lnTo>
                    <a:pt x="1691" y="2247"/>
                  </a:lnTo>
                  <a:lnTo>
                    <a:pt x="1692" y="2251"/>
                  </a:lnTo>
                  <a:lnTo>
                    <a:pt x="1692" y="2251"/>
                  </a:lnTo>
                  <a:lnTo>
                    <a:pt x="1693" y="2260"/>
                  </a:lnTo>
                  <a:lnTo>
                    <a:pt x="1693" y="2260"/>
                  </a:lnTo>
                  <a:lnTo>
                    <a:pt x="1693" y="2268"/>
                  </a:lnTo>
                  <a:lnTo>
                    <a:pt x="1693" y="2268"/>
                  </a:lnTo>
                  <a:lnTo>
                    <a:pt x="1693" y="2269"/>
                  </a:lnTo>
                  <a:lnTo>
                    <a:pt x="1694" y="2279"/>
                  </a:lnTo>
                  <a:lnTo>
                    <a:pt x="1694" y="2279"/>
                  </a:lnTo>
                  <a:lnTo>
                    <a:pt x="1695" y="2288"/>
                  </a:lnTo>
                  <a:lnTo>
                    <a:pt x="1695" y="2288"/>
                  </a:lnTo>
                  <a:lnTo>
                    <a:pt x="1695" y="2289"/>
                  </a:lnTo>
                  <a:lnTo>
                    <a:pt x="1695" y="2289"/>
                  </a:lnTo>
                  <a:cubicBezTo>
                    <a:pt x="1696" y="2299"/>
                    <a:pt x="1697" y="2309"/>
                    <a:pt x="1699" y="2320"/>
                  </a:cubicBezTo>
                  <a:cubicBezTo>
                    <a:pt x="1700" y="2331"/>
                    <a:pt x="1701" y="2341"/>
                    <a:pt x="1702" y="2351"/>
                  </a:cubicBezTo>
                  <a:lnTo>
                    <a:pt x="1702" y="2351"/>
                  </a:lnTo>
                  <a:lnTo>
                    <a:pt x="1702" y="2352"/>
                  </a:lnTo>
                  <a:lnTo>
                    <a:pt x="1702" y="2352"/>
                  </a:lnTo>
                  <a:cubicBezTo>
                    <a:pt x="1703" y="2358"/>
                    <a:pt x="1704" y="2364"/>
                    <a:pt x="1705" y="2372"/>
                  </a:cubicBezTo>
                  <a:cubicBezTo>
                    <a:pt x="1707" y="2380"/>
                    <a:pt x="1708" y="2386"/>
                    <a:pt x="1709" y="2392"/>
                  </a:cubicBezTo>
                  <a:lnTo>
                    <a:pt x="1709" y="2392"/>
                  </a:lnTo>
                  <a:lnTo>
                    <a:pt x="1710" y="2397"/>
                  </a:lnTo>
                  <a:lnTo>
                    <a:pt x="1710" y="2397"/>
                  </a:lnTo>
                  <a:lnTo>
                    <a:pt x="1711" y="2406"/>
                  </a:lnTo>
                  <a:lnTo>
                    <a:pt x="1711" y="2406"/>
                  </a:lnTo>
                  <a:lnTo>
                    <a:pt x="1712" y="2412"/>
                  </a:lnTo>
                  <a:lnTo>
                    <a:pt x="1713" y="2415"/>
                  </a:lnTo>
                  <a:lnTo>
                    <a:pt x="1713" y="2415"/>
                  </a:lnTo>
                  <a:lnTo>
                    <a:pt x="1716" y="2431"/>
                  </a:lnTo>
                  <a:lnTo>
                    <a:pt x="1716" y="2431"/>
                  </a:lnTo>
                  <a:lnTo>
                    <a:pt x="1716" y="2432"/>
                  </a:lnTo>
                  <a:lnTo>
                    <a:pt x="1720" y="2450"/>
                  </a:lnTo>
                  <a:lnTo>
                    <a:pt x="1720" y="2450"/>
                  </a:lnTo>
                  <a:lnTo>
                    <a:pt x="1720" y="2453"/>
                  </a:lnTo>
                  <a:lnTo>
                    <a:pt x="1720" y="2453"/>
                  </a:lnTo>
                  <a:cubicBezTo>
                    <a:pt x="1722" y="2463"/>
                    <a:pt x="1724" y="2473"/>
                    <a:pt x="1727" y="2482"/>
                  </a:cubicBezTo>
                  <a:cubicBezTo>
                    <a:pt x="1729" y="2492"/>
                    <a:pt x="1731" y="2502"/>
                    <a:pt x="1733" y="2511"/>
                  </a:cubicBezTo>
                  <a:lnTo>
                    <a:pt x="1733" y="2512"/>
                  </a:lnTo>
                  <a:lnTo>
                    <a:pt x="1733" y="2513"/>
                  </a:lnTo>
                  <a:cubicBezTo>
                    <a:pt x="1739" y="2536"/>
                    <a:pt x="1745" y="2559"/>
                    <a:pt x="1752" y="2581"/>
                  </a:cubicBezTo>
                  <a:cubicBezTo>
                    <a:pt x="1758" y="2604"/>
                    <a:pt x="1766" y="2627"/>
                    <a:pt x="1773" y="2649"/>
                  </a:cubicBezTo>
                  <a:lnTo>
                    <a:pt x="1773" y="2650"/>
                  </a:lnTo>
                  <a:lnTo>
                    <a:pt x="1773" y="2650"/>
                  </a:lnTo>
                  <a:lnTo>
                    <a:pt x="1773" y="2650"/>
                  </a:lnTo>
                  <a:lnTo>
                    <a:pt x="1779" y="2666"/>
                  </a:lnTo>
                  <a:lnTo>
                    <a:pt x="1779" y="2666"/>
                  </a:lnTo>
                  <a:lnTo>
                    <a:pt x="1780" y="2668"/>
                  </a:lnTo>
                  <a:lnTo>
                    <a:pt x="1780" y="2668"/>
                  </a:lnTo>
                  <a:cubicBezTo>
                    <a:pt x="1797" y="2718"/>
                    <a:pt x="1817" y="2767"/>
                    <a:pt x="1840" y="2815"/>
                  </a:cubicBezTo>
                  <a:cubicBezTo>
                    <a:pt x="1862" y="2863"/>
                    <a:pt x="1887" y="2910"/>
                    <a:pt x="1913" y="2955"/>
                  </a:cubicBezTo>
                  <a:lnTo>
                    <a:pt x="1913" y="2955"/>
                  </a:lnTo>
                  <a:lnTo>
                    <a:pt x="1915" y="2958"/>
                  </a:lnTo>
                  <a:lnTo>
                    <a:pt x="1915" y="2958"/>
                  </a:lnTo>
                  <a:lnTo>
                    <a:pt x="1925" y="2975"/>
                  </a:lnTo>
                  <a:lnTo>
                    <a:pt x="1925" y="2975"/>
                  </a:lnTo>
                  <a:lnTo>
                    <a:pt x="1926" y="2977"/>
                  </a:lnTo>
                  <a:lnTo>
                    <a:pt x="1926" y="2977"/>
                  </a:lnTo>
                  <a:lnTo>
                    <a:pt x="1935" y="2991"/>
                  </a:lnTo>
                  <a:lnTo>
                    <a:pt x="1935" y="2992"/>
                  </a:lnTo>
                  <a:lnTo>
                    <a:pt x="1936" y="2992"/>
                  </a:lnTo>
                  <a:lnTo>
                    <a:pt x="1939" y="2998"/>
                  </a:lnTo>
                  <a:lnTo>
                    <a:pt x="1939" y="2998"/>
                  </a:lnTo>
                  <a:cubicBezTo>
                    <a:pt x="1947" y="3011"/>
                    <a:pt x="1956" y="3023"/>
                    <a:pt x="1964" y="3036"/>
                  </a:cubicBezTo>
                  <a:cubicBezTo>
                    <a:pt x="1972" y="3048"/>
                    <a:pt x="1981" y="3061"/>
                    <a:pt x="1990" y="3073"/>
                  </a:cubicBezTo>
                  <a:lnTo>
                    <a:pt x="1990" y="3073"/>
                  </a:lnTo>
                  <a:lnTo>
                    <a:pt x="1990" y="3075"/>
                  </a:lnTo>
                  <a:lnTo>
                    <a:pt x="1990" y="3075"/>
                  </a:lnTo>
                  <a:cubicBezTo>
                    <a:pt x="1995" y="3081"/>
                    <a:pt x="1999" y="3086"/>
                    <a:pt x="2002" y="3091"/>
                  </a:cubicBezTo>
                  <a:lnTo>
                    <a:pt x="2002" y="3091"/>
                  </a:lnTo>
                  <a:cubicBezTo>
                    <a:pt x="2006" y="3095"/>
                    <a:pt x="2009" y="3100"/>
                    <a:pt x="2014" y="3107"/>
                  </a:cubicBezTo>
                  <a:lnTo>
                    <a:pt x="2014" y="3107"/>
                  </a:lnTo>
                  <a:lnTo>
                    <a:pt x="2014" y="3107"/>
                  </a:lnTo>
                  <a:lnTo>
                    <a:pt x="2014" y="3107"/>
                  </a:lnTo>
                  <a:cubicBezTo>
                    <a:pt x="2017" y="3111"/>
                    <a:pt x="2020" y="3115"/>
                    <a:pt x="2024" y="3120"/>
                  </a:cubicBezTo>
                  <a:cubicBezTo>
                    <a:pt x="2028" y="3125"/>
                    <a:pt x="2031" y="3129"/>
                    <a:pt x="2034" y="3133"/>
                  </a:cubicBezTo>
                  <a:lnTo>
                    <a:pt x="2038" y="3138"/>
                  </a:lnTo>
                  <a:lnTo>
                    <a:pt x="2038" y="3138"/>
                  </a:lnTo>
                  <a:lnTo>
                    <a:pt x="2039" y="3140"/>
                  </a:lnTo>
                  <a:lnTo>
                    <a:pt x="2045" y="3147"/>
                  </a:lnTo>
                  <a:cubicBezTo>
                    <a:pt x="2108" y="3111"/>
                    <a:pt x="2176" y="3078"/>
                    <a:pt x="2248" y="3049"/>
                  </a:cubicBezTo>
                  <a:cubicBezTo>
                    <a:pt x="2320" y="3019"/>
                    <a:pt x="2397" y="2992"/>
                    <a:pt x="2477" y="2968"/>
                  </a:cubicBezTo>
                  <a:close/>
                  <a:moveTo>
                    <a:pt x="2881" y="3705"/>
                  </a:moveTo>
                  <a:cubicBezTo>
                    <a:pt x="2840" y="3666"/>
                    <a:pt x="2800" y="3621"/>
                    <a:pt x="2762" y="3571"/>
                  </a:cubicBezTo>
                  <a:cubicBezTo>
                    <a:pt x="2716" y="3510"/>
                    <a:pt x="2674" y="3442"/>
                    <a:pt x="2635" y="3367"/>
                  </a:cubicBezTo>
                  <a:cubicBezTo>
                    <a:pt x="2613" y="3325"/>
                    <a:pt x="2592" y="3281"/>
                    <a:pt x="2572" y="3235"/>
                  </a:cubicBezTo>
                  <a:cubicBezTo>
                    <a:pt x="2553" y="3192"/>
                    <a:pt x="2536" y="3147"/>
                    <a:pt x="2519" y="3100"/>
                  </a:cubicBezTo>
                  <a:cubicBezTo>
                    <a:pt x="2448" y="3121"/>
                    <a:pt x="2380" y="3145"/>
                    <a:pt x="2316" y="3171"/>
                  </a:cubicBezTo>
                  <a:cubicBezTo>
                    <a:pt x="2253" y="3196"/>
                    <a:pt x="2194" y="3224"/>
                    <a:pt x="2138" y="3254"/>
                  </a:cubicBezTo>
                  <a:cubicBezTo>
                    <a:pt x="2142" y="3258"/>
                    <a:pt x="2145" y="3262"/>
                    <a:pt x="2150" y="3266"/>
                  </a:cubicBezTo>
                  <a:cubicBezTo>
                    <a:pt x="2156" y="3273"/>
                    <a:pt x="2163" y="3279"/>
                    <a:pt x="2169" y="3286"/>
                  </a:cubicBezTo>
                  <a:lnTo>
                    <a:pt x="2169" y="3286"/>
                  </a:lnTo>
                  <a:cubicBezTo>
                    <a:pt x="2272" y="3389"/>
                    <a:pt x="2388" y="3478"/>
                    <a:pt x="2515" y="3550"/>
                  </a:cubicBezTo>
                  <a:cubicBezTo>
                    <a:pt x="2629" y="3616"/>
                    <a:pt x="2752" y="3668"/>
                    <a:pt x="2881" y="3705"/>
                  </a:cubicBezTo>
                  <a:close/>
                  <a:moveTo>
                    <a:pt x="4150" y="3100"/>
                  </a:moveTo>
                  <a:cubicBezTo>
                    <a:pt x="4134" y="3147"/>
                    <a:pt x="4116" y="3192"/>
                    <a:pt x="4097" y="3235"/>
                  </a:cubicBezTo>
                  <a:cubicBezTo>
                    <a:pt x="4077" y="3281"/>
                    <a:pt x="4057" y="3325"/>
                    <a:pt x="4035" y="3367"/>
                  </a:cubicBezTo>
                  <a:cubicBezTo>
                    <a:pt x="3995" y="3442"/>
                    <a:pt x="3953" y="3510"/>
                    <a:pt x="3907" y="3571"/>
                  </a:cubicBezTo>
                  <a:cubicBezTo>
                    <a:pt x="3869" y="3621"/>
                    <a:pt x="3830" y="3666"/>
                    <a:pt x="3788" y="3705"/>
                  </a:cubicBezTo>
                  <a:cubicBezTo>
                    <a:pt x="3918" y="3668"/>
                    <a:pt x="4040" y="3616"/>
                    <a:pt x="4155" y="3550"/>
                  </a:cubicBezTo>
                  <a:cubicBezTo>
                    <a:pt x="4281" y="3478"/>
                    <a:pt x="4397" y="3389"/>
                    <a:pt x="4500" y="3286"/>
                  </a:cubicBezTo>
                  <a:cubicBezTo>
                    <a:pt x="4507" y="3279"/>
                    <a:pt x="4514" y="3272"/>
                    <a:pt x="4520" y="3266"/>
                  </a:cubicBezTo>
                  <a:cubicBezTo>
                    <a:pt x="4524" y="3262"/>
                    <a:pt x="4528" y="3258"/>
                    <a:pt x="4531" y="3254"/>
                  </a:cubicBezTo>
                  <a:cubicBezTo>
                    <a:pt x="4476" y="3224"/>
                    <a:pt x="4416" y="3196"/>
                    <a:pt x="4353" y="3171"/>
                  </a:cubicBezTo>
                  <a:cubicBezTo>
                    <a:pt x="4289" y="3145"/>
                    <a:pt x="4221" y="3121"/>
                    <a:pt x="4150" y="3100"/>
                  </a:cubicBezTo>
                  <a:close/>
                  <a:moveTo>
                    <a:pt x="4306" y="2190"/>
                  </a:moveTo>
                  <a:cubicBezTo>
                    <a:pt x="4303" y="2329"/>
                    <a:pt x="4292" y="2463"/>
                    <a:pt x="4273" y="2592"/>
                  </a:cubicBezTo>
                  <a:cubicBezTo>
                    <a:pt x="4254" y="2724"/>
                    <a:pt x="4227" y="2850"/>
                    <a:pt x="4192" y="2968"/>
                  </a:cubicBezTo>
                  <a:cubicBezTo>
                    <a:pt x="4272" y="2992"/>
                    <a:pt x="4349" y="3019"/>
                    <a:pt x="4421" y="3049"/>
                  </a:cubicBezTo>
                  <a:cubicBezTo>
                    <a:pt x="4494" y="3078"/>
                    <a:pt x="4562" y="3111"/>
                    <a:pt x="4624" y="3147"/>
                  </a:cubicBezTo>
                  <a:lnTo>
                    <a:pt x="4630" y="3140"/>
                  </a:lnTo>
                  <a:lnTo>
                    <a:pt x="4631" y="3138"/>
                  </a:lnTo>
                  <a:lnTo>
                    <a:pt x="4631" y="3138"/>
                  </a:lnTo>
                  <a:lnTo>
                    <a:pt x="4635" y="3133"/>
                  </a:lnTo>
                  <a:cubicBezTo>
                    <a:pt x="4638" y="3129"/>
                    <a:pt x="4641" y="3125"/>
                    <a:pt x="4645" y="3120"/>
                  </a:cubicBezTo>
                  <a:cubicBezTo>
                    <a:pt x="4649" y="3115"/>
                    <a:pt x="4652" y="3111"/>
                    <a:pt x="4655" y="3107"/>
                  </a:cubicBezTo>
                  <a:lnTo>
                    <a:pt x="4655" y="3107"/>
                  </a:lnTo>
                  <a:lnTo>
                    <a:pt x="4655" y="3107"/>
                  </a:lnTo>
                  <a:lnTo>
                    <a:pt x="4655" y="3107"/>
                  </a:lnTo>
                  <a:cubicBezTo>
                    <a:pt x="4727" y="3010"/>
                    <a:pt x="4789" y="2906"/>
                    <a:pt x="4839" y="2795"/>
                  </a:cubicBezTo>
                  <a:cubicBezTo>
                    <a:pt x="4887" y="2687"/>
                    <a:pt x="4925" y="2572"/>
                    <a:pt x="4949" y="2453"/>
                  </a:cubicBezTo>
                  <a:lnTo>
                    <a:pt x="4949" y="2453"/>
                  </a:lnTo>
                  <a:lnTo>
                    <a:pt x="4950" y="2450"/>
                  </a:lnTo>
                  <a:lnTo>
                    <a:pt x="4950" y="2450"/>
                  </a:lnTo>
                  <a:lnTo>
                    <a:pt x="4953" y="2432"/>
                  </a:lnTo>
                  <a:lnTo>
                    <a:pt x="4954" y="2431"/>
                  </a:lnTo>
                  <a:lnTo>
                    <a:pt x="4954" y="2431"/>
                  </a:lnTo>
                  <a:cubicBezTo>
                    <a:pt x="4955" y="2425"/>
                    <a:pt x="4956" y="2419"/>
                    <a:pt x="4957" y="2415"/>
                  </a:cubicBezTo>
                  <a:cubicBezTo>
                    <a:pt x="4957" y="2409"/>
                    <a:pt x="4959" y="2403"/>
                    <a:pt x="4960" y="2397"/>
                  </a:cubicBezTo>
                  <a:lnTo>
                    <a:pt x="4960" y="2392"/>
                  </a:lnTo>
                  <a:lnTo>
                    <a:pt x="4960" y="2392"/>
                  </a:lnTo>
                  <a:cubicBezTo>
                    <a:pt x="4962" y="2386"/>
                    <a:pt x="4963" y="2379"/>
                    <a:pt x="4964" y="2372"/>
                  </a:cubicBezTo>
                  <a:cubicBezTo>
                    <a:pt x="4965" y="2364"/>
                    <a:pt x="4966" y="2358"/>
                    <a:pt x="4967" y="2352"/>
                  </a:cubicBezTo>
                  <a:lnTo>
                    <a:pt x="4967" y="2352"/>
                  </a:lnTo>
                  <a:lnTo>
                    <a:pt x="4967" y="2351"/>
                  </a:lnTo>
                  <a:lnTo>
                    <a:pt x="4967" y="2351"/>
                  </a:lnTo>
                  <a:cubicBezTo>
                    <a:pt x="4968" y="2341"/>
                    <a:pt x="4969" y="2331"/>
                    <a:pt x="4971" y="2320"/>
                  </a:cubicBezTo>
                  <a:cubicBezTo>
                    <a:pt x="4972" y="2309"/>
                    <a:pt x="4973" y="2299"/>
                    <a:pt x="4974" y="2289"/>
                  </a:cubicBezTo>
                  <a:lnTo>
                    <a:pt x="4974" y="2288"/>
                  </a:lnTo>
                  <a:lnTo>
                    <a:pt x="4974" y="2288"/>
                  </a:lnTo>
                  <a:lnTo>
                    <a:pt x="4975" y="2279"/>
                  </a:lnTo>
                  <a:lnTo>
                    <a:pt x="4975" y="2279"/>
                  </a:lnTo>
                  <a:lnTo>
                    <a:pt x="4976" y="2269"/>
                  </a:lnTo>
                  <a:lnTo>
                    <a:pt x="4976" y="2268"/>
                  </a:lnTo>
                  <a:lnTo>
                    <a:pt x="4976" y="2268"/>
                  </a:lnTo>
                  <a:lnTo>
                    <a:pt x="4977" y="2260"/>
                  </a:lnTo>
                  <a:lnTo>
                    <a:pt x="4977" y="2260"/>
                  </a:lnTo>
                  <a:lnTo>
                    <a:pt x="4978" y="2251"/>
                  </a:lnTo>
                  <a:lnTo>
                    <a:pt x="4978" y="2251"/>
                  </a:lnTo>
                  <a:lnTo>
                    <a:pt x="4978" y="2247"/>
                  </a:lnTo>
                  <a:lnTo>
                    <a:pt x="4979" y="2232"/>
                  </a:lnTo>
                  <a:lnTo>
                    <a:pt x="4979" y="2226"/>
                  </a:lnTo>
                  <a:lnTo>
                    <a:pt x="4979" y="2223"/>
                  </a:lnTo>
                  <a:lnTo>
                    <a:pt x="4979" y="2223"/>
                  </a:lnTo>
                  <a:lnTo>
                    <a:pt x="4981" y="2205"/>
                  </a:lnTo>
                  <a:lnTo>
                    <a:pt x="4981" y="2205"/>
                  </a:lnTo>
                  <a:lnTo>
                    <a:pt x="4981" y="2205"/>
                  </a:lnTo>
                  <a:lnTo>
                    <a:pt x="4981" y="2195"/>
                  </a:lnTo>
                  <a:lnTo>
                    <a:pt x="4982" y="2190"/>
                  </a:lnTo>
                  <a:lnTo>
                    <a:pt x="4306" y="2190"/>
                  </a:lnTo>
                  <a:close/>
                  <a:moveTo>
                    <a:pt x="4192" y="1272"/>
                  </a:moveTo>
                  <a:cubicBezTo>
                    <a:pt x="4227" y="1390"/>
                    <a:pt x="4254" y="1517"/>
                    <a:pt x="4273" y="1649"/>
                  </a:cubicBezTo>
                  <a:cubicBezTo>
                    <a:pt x="4292" y="1777"/>
                    <a:pt x="4303" y="1912"/>
                    <a:pt x="4306" y="2051"/>
                  </a:cubicBezTo>
                  <a:lnTo>
                    <a:pt x="4982" y="2051"/>
                  </a:lnTo>
                  <a:lnTo>
                    <a:pt x="4981" y="2046"/>
                  </a:lnTo>
                  <a:lnTo>
                    <a:pt x="4981" y="2036"/>
                  </a:lnTo>
                  <a:lnTo>
                    <a:pt x="4981" y="2036"/>
                  </a:lnTo>
                  <a:lnTo>
                    <a:pt x="4981" y="2036"/>
                  </a:lnTo>
                  <a:lnTo>
                    <a:pt x="4979" y="2018"/>
                  </a:lnTo>
                  <a:lnTo>
                    <a:pt x="4979" y="2018"/>
                  </a:lnTo>
                  <a:lnTo>
                    <a:pt x="4979" y="2015"/>
                  </a:lnTo>
                  <a:lnTo>
                    <a:pt x="4979" y="2008"/>
                  </a:lnTo>
                  <a:lnTo>
                    <a:pt x="4978" y="1994"/>
                  </a:lnTo>
                  <a:lnTo>
                    <a:pt x="4978" y="1990"/>
                  </a:lnTo>
                  <a:lnTo>
                    <a:pt x="4978" y="1990"/>
                  </a:lnTo>
                  <a:lnTo>
                    <a:pt x="4977" y="1981"/>
                  </a:lnTo>
                  <a:lnTo>
                    <a:pt x="4977" y="1981"/>
                  </a:lnTo>
                  <a:lnTo>
                    <a:pt x="4976" y="1973"/>
                  </a:lnTo>
                  <a:lnTo>
                    <a:pt x="4976" y="1973"/>
                  </a:lnTo>
                  <a:lnTo>
                    <a:pt x="4976" y="1972"/>
                  </a:lnTo>
                  <a:lnTo>
                    <a:pt x="4975" y="1962"/>
                  </a:lnTo>
                  <a:lnTo>
                    <a:pt x="4975" y="1962"/>
                  </a:lnTo>
                  <a:lnTo>
                    <a:pt x="4974" y="1953"/>
                  </a:lnTo>
                  <a:lnTo>
                    <a:pt x="4974" y="1953"/>
                  </a:lnTo>
                  <a:lnTo>
                    <a:pt x="4974" y="1952"/>
                  </a:lnTo>
                  <a:lnTo>
                    <a:pt x="4974" y="1952"/>
                  </a:lnTo>
                  <a:cubicBezTo>
                    <a:pt x="4973" y="1942"/>
                    <a:pt x="4972" y="1932"/>
                    <a:pt x="4971" y="1921"/>
                  </a:cubicBezTo>
                  <a:cubicBezTo>
                    <a:pt x="4969" y="1910"/>
                    <a:pt x="4968" y="1900"/>
                    <a:pt x="4967" y="1890"/>
                  </a:cubicBezTo>
                  <a:lnTo>
                    <a:pt x="4967" y="1890"/>
                  </a:lnTo>
                  <a:lnTo>
                    <a:pt x="4967" y="1889"/>
                  </a:lnTo>
                  <a:lnTo>
                    <a:pt x="4967" y="1889"/>
                  </a:lnTo>
                  <a:cubicBezTo>
                    <a:pt x="4966" y="1883"/>
                    <a:pt x="4965" y="1877"/>
                    <a:pt x="4964" y="1869"/>
                  </a:cubicBezTo>
                  <a:lnTo>
                    <a:pt x="4964" y="1869"/>
                  </a:lnTo>
                  <a:cubicBezTo>
                    <a:pt x="4963" y="1861"/>
                    <a:pt x="4962" y="1855"/>
                    <a:pt x="4960" y="1849"/>
                  </a:cubicBezTo>
                  <a:lnTo>
                    <a:pt x="4960" y="1849"/>
                  </a:lnTo>
                  <a:lnTo>
                    <a:pt x="4960" y="1844"/>
                  </a:lnTo>
                  <a:cubicBezTo>
                    <a:pt x="4959" y="1839"/>
                    <a:pt x="4958" y="1833"/>
                    <a:pt x="4957" y="1826"/>
                  </a:cubicBezTo>
                  <a:cubicBezTo>
                    <a:pt x="4956" y="1820"/>
                    <a:pt x="4954" y="1815"/>
                    <a:pt x="4954" y="1810"/>
                  </a:cubicBezTo>
                  <a:lnTo>
                    <a:pt x="4954" y="1810"/>
                  </a:lnTo>
                  <a:lnTo>
                    <a:pt x="4953" y="1808"/>
                  </a:lnTo>
                  <a:lnTo>
                    <a:pt x="4950" y="1791"/>
                  </a:lnTo>
                  <a:lnTo>
                    <a:pt x="4950" y="1791"/>
                  </a:lnTo>
                  <a:lnTo>
                    <a:pt x="4949" y="1788"/>
                  </a:lnTo>
                  <a:lnTo>
                    <a:pt x="4949" y="1788"/>
                  </a:lnTo>
                  <a:cubicBezTo>
                    <a:pt x="4925" y="1669"/>
                    <a:pt x="4887" y="1554"/>
                    <a:pt x="4839" y="1445"/>
                  </a:cubicBezTo>
                  <a:cubicBezTo>
                    <a:pt x="4789" y="1335"/>
                    <a:pt x="4727" y="1230"/>
                    <a:pt x="4655" y="1134"/>
                  </a:cubicBezTo>
                  <a:lnTo>
                    <a:pt x="4655" y="1134"/>
                  </a:lnTo>
                  <a:lnTo>
                    <a:pt x="4655" y="1134"/>
                  </a:lnTo>
                  <a:lnTo>
                    <a:pt x="4655" y="1134"/>
                  </a:lnTo>
                  <a:cubicBezTo>
                    <a:pt x="4652" y="1130"/>
                    <a:pt x="4649" y="1126"/>
                    <a:pt x="4645" y="1121"/>
                  </a:cubicBezTo>
                  <a:cubicBezTo>
                    <a:pt x="4641" y="1116"/>
                    <a:pt x="4638" y="1111"/>
                    <a:pt x="4635" y="1108"/>
                  </a:cubicBezTo>
                  <a:lnTo>
                    <a:pt x="4631" y="1103"/>
                  </a:lnTo>
                  <a:lnTo>
                    <a:pt x="4631" y="1103"/>
                  </a:lnTo>
                  <a:lnTo>
                    <a:pt x="4630" y="1101"/>
                  </a:lnTo>
                  <a:lnTo>
                    <a:pt x="4624" y="1094"/>
                  </a:lnTo>
                  <a:cubicBezTo>
                    <a:pt x="4562" y="1130"/>
                    <a:pt x="4494" y="1162"/>
                    <a:pt x="4421" y="1192"/>
                  </a:cubicBezTo>
                  <a:cubicBezTo>
                    <a:pt x="4349" y="1222"/>
                    <a:pt x="4272" y="1249"/>
                    <a:pt x="4192" y="1272"/>
                  </a:cubicBezTo>
                  <a:close/>
                  <a:moveTo>
                    <a:pt x="3788" y="536"/>
                  </a:moveTo>
                  <a:cubicBezTo>
                    <a:pt x="3830" y="575"/>
                    <a:pt x="3869" y="620"/>
                    <a:pt x="3907" y="670"/>
                  </a:cubicBezTo>
                  <a:cubicBezTo>
                    <a:pt x="3953" y="731"/>
                    <a:pt x="3995" y="799"/>
                    <a:pt x="4035" y="874"/>
                  </a:cubicBezTo>
                  <a:cubicBezTo>
                    <a:pt x="4057" y="916"/>
                    <a:pt x="4077" y="960"/>
                    <a:pt x="4097" y="1006"/>
                  </a:cubicBezTo>
                  <a:cubicBezTo>
                    <a:pt x="4116" y="1049"/>
                    <a:pt x="4134" y="1094"/>
                    <a:pt x="4150" y="1141"/>
                  </a:cubicBezTo>
                  <a:cubicBezTo>
                    <a:pt x="4221" y="1120"/>
                    <a:pt x="4289" y="1096"/>
                    <a:pt x="4353" y="1070"/>
                  </a:cubicBezTo>
                  <a:cubicBezTo>
                    <a:pt x="4416" y="1045"/>
                    <a:pt x="4476" y="1017"/>
                    <a:pt x="4531" y="987"/>
                  </a:cubicBezTo>
                  <a:cubicBezTo>
                    <a:pt x="4527" y="983"/>
                    <a:pt x="4523" y="979"/>
                    <a:pt x="4520" y="975"/>
                  </a:cubicBezTo>
                  <a:cubicBezTo>
                    <a:pt x="4514" y="969"/>
                    <a:pt x="4507" y="962"/>
                    <a:pt x="4500" y="955"/>
                  </a:cubicBezTo>
                  <a:cubicBezTo>
                    <a:pt x="4397" y="852"/>
                    <a:pt x="4281" y="763"/>
                    <a:pt x="4154" y="690"/>
                  </a:cubicBezTo>
                  <a:cubicBezTo>
                    <a:pt x="4040" y="625"/>
                    <a:pt x="3918" y="573"/>
                    <a:pt x="3788" y="536"/>
                  </a:cubicBezTo>
                  <a:close/>
                  <a:moveTo>
                    <a:pt x="4167" y="2051"/>
                  </a:moveTo>
                  <a:cubicBezTo>
                    <a:pt x="4165" y="1918"/>
                    <a:pt x="4154" y="1789"/>
                    <a:pt x="4136" y="1666"/>
                  </a:cubicBezTo>
                  <a:cubicBezTo>
                    <a:pt x="4117" y="1540"/>
                    <a:pt x="4091" y="1420"/>
                    <a:pt x="4058" y="1308"/>
                  </a:cubicBezTo>
                  <a:cubicBezTo>
                    <a:pt x="3956" y="1332"/>
                    <a:pt x="3849" y="1352"/>
                    <a:pt x="3739" y="1365"/>
                  </a:cubicBezTo>
                  <a:cubicBezTo>
                    <a:pt x="3631" y="1379"/>
                    <a:pt x="3519" y="1387"/>
                    <a:pt x="3404" y="1389"/>
                  </a:cubicBezTo>
                  <a:lnTo>
                    <a:pt x="3404" y="2051"/>
                  </a:lnTo>
                  <a:lnTo>
                    <a:pt x="4167" y="2051"/>
                  </a:lnTo>
                  <a:close/>
                  <a:moveTo>
                    <a:pt x="5818" y="1178"/>
                  </a:moveTo>
                  <a:cubicBezTo>
                    <a:pt x="5768" y="1178"/>
                    <a:pt x="5723" y="1198"/>
                    <a:pt x="5691" y="1231"/>
                  </a:cubicBezTo>
                  <a:cubicBezTo>
                    <a:pt x="5658" y="1263"/>
                    <a:pt x="5638" y="1308"/>
                    <a:pt x="5638" y="1358"/>
                  </a:cubicBezTo>
                  <a:cubicBezTo>
                    <a:pt x="5638" y="1407"/>
                    <a:pt x="5658" y="1452"/>
                    <a:pt x="5691" y="1484"/>
                  </a:cubicBezTo>
                  <a:cubicBezTo>
                    <a:pt x="5723" y="1517"/>
                    <a:pt x="5768" y="1537"/>
                    <a:pt x="5818" y="1537"/>
                  </a:cubicBezTo>
                  <a:cubicBezTo>
                    <a:pt x="5867" y="1537"/>
                    <a:pt x="5912" y="1517"/>
                    <a:pt x="5944" y="1484"/>
                  </a:cubicBezTo>
                  <a:cubicBezTo>
                    <a:pt x="5977" y="1452"/>
                    <a:pt x="5997" y="1407"/>
                    <a:pt x="5997" y="1358"/>
                  </a:cubicBezTo>
                  <a:cubicBezTo>
                    <a:pt x="5997" y="1308"/>
                    <a:pt x="5977" y="1263"/>
                    <a:pt x="5944" y="1231"/>
                  </a:cubicBezTo>
                  <a:cubicBezTo>
                    <a:pt x="5912" y="1198"/>
                    <a:pt x="5867" y="1178"/>
                    <a:pt x="5818" y="1178"/>
                  </a:cubicBezTo>
                  <a:lnTo>
                    <a:pt x="5818" y="1178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771" name="e_card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D316A1C-466E-4426-916C-A5B36131BDD5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045319" y="1370380"/>
              <a:ext cx="391715" cy="337114"/>
              <a:chOff x="5691188" y="4457700"/>
              <a:chExt cx="785812" cy="676276"/>
            </a:xfrm>
            <a:solidFill>
              <a:srgbClr val="ED7D31"/>
            </a:solidFill>
          </p:grpSpPr>
          <p:sp>
            <p:nvSpPr>
              <p:cNvPr id="772" name="Freeform 174">
                <a:extLst>
                  <a:ext uri="{FF2B5EF4-FFF2-40B4-BE49-F238E27FC236}">
                    <a16:creationId xmlns:a16="http://schemas.microsoft.com/office/drawing/2014/main" id="{9DAC663F-2331-4BA2-B46C-790A53130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7750" y="4557713"/>
                <a:ext cx="215900" cy="207963"/>
              </a:xfrm>
              <a:custGeom>
                <a:avLst/>
                <a:gdLst>
                  <a:gd name="T0" fmla="*/ 41 w 304"/>
                  <a:gd name="T1" fmla="*/ 75 h 291"/>
                  <a:gd name="T2" fmla="*/ 200 w 304"/>
                  <a:gd name="T3" fmla="*/ 75 h 291"/>
                  <a:gd name="T4" fmla="*/ 250 w 304"/>
                  <a:gd name="T5" fmla="*/ 109 h 291"/>
                  <a:gd name="T6" fmla="*/ 304 w 304"/>
                  <a:gd name="T7" fmla="*/ 54 h 291"/>
                  <a:gd name="T8" fmla="*/ 250 w 304"/>
                  <a:gd name="T9" fmla="*/ 0 h 291"/>
                  <a:gd name="T10" fmla="*/ 200 w 304"/>
                  <a:gd name="T11" fmla="*/ 34 h 291"/>
                  <a:gd name="T12" fmla="*/ 20 w 304"/>
                  <a:gd name="T13" fmla="*/ 34 h 291"/>
                  <a:gd name="T14" fmla="*/ 0 w 304"/>
                  <a:gd name="T15" fmla="*/ 54 h 291"/>
                  <a:gd name="T16" fmla="*/ 0 w 304"/>
                  <a:gd name="T17" fmla="*/ 291 h 291"/>
                  <a:gd name="T18" fmla="*/ 41 w 304"/>
                  <a:gd name="T19" fmla="*/ 291 h 291"/>
                  <a:gd name="T20" fmla="*/ 41 w 304"/>
                  <a:gd name="T21" fmla="*/ 75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4" h="291">
                    <a:moveTo>
                      <a:pt x="41" y="75"/>
                    </a:moveTo>
                    <a:lnTo>
                      <a:pt x="200" y="75"/>
                    </a:lnTo>
                    <a:cubicBezTo>
                      <a:pt x="208" y="95"/>
                      <a:pt x="228" y="109"/>
                      <a:pt x="250" y="109"/>
                    </a:cubicBezTo>
                    <a:cubicBezTo>
                      <a:pt x="280" y="109"/>
                      <a:pt x="304" y="84"/>
                      <a:pt x="304" y="54"/>
                    </a:cubicBezTo>
                    <a:cubicBezTo>
                      <a:pt x="304" y="24"/>
                      <a:pt x="280" y="0"/>
                      <a:pt x="250" y="0"/>
                    </a:cubicBezTo>
                    <a:cubicBezTo>
                      <a:pt x="228" y="0"/>
                      <a:pt x="208" y="14"/>
                      <a:pt x="200" y="34"/>
                    </a:cubicBezTo>
                    <a:lnTo>
                      <a:pt x="20" y="34"/>
                    </a:lnTo>
                    <a:cubicBezTo>
                      <a:pt x="9" y="34"/>
                      <a:pt x="0" y="43"/>
                      <a:pt x="0" y="54"/>
                    </a:cubicBezTo>
                    <a:lnTo>
                      <a:pt x="0" y="291"/>
                    </a:lnTo>
                    <a:lnTo>
                      <a:pt x="41" y="291"/>
                    </a:lnTo>
                    <a:lnTo>
                      <a:pt x="41" y="7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3" name="Freeform 175">
                <a:extLst>
                  <a:ext uri="{FF2B5EF4-FFF2-40B4-BE49-F238E27FC236}">
                    <a16:creationId xmlns:a16="http://schemas.microsoft.com/office/drawing/2014/main" id="{5699B40D-630C-4BDB-8944-8466E5078E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5550" y="4806950"/>
                <a:ext cx="171450" cy="101600"/>
              </a:xfrm>
              <a:custGeom>
                <a:avLst/>
                <a:gdLst>
                  <a:gd name="T0" fmla="*/ 168 w 240"/>
                  <a:gd name="T1" fmla="*/ 39 h 144"/>
                  <a:gd name="T2" fmla="*/ 201 w 240"/>
                  <a:gd name="T3" fmla="*/ 72 h 144"/>
                  <a:gd name="T4" fmla="*/ 168 w 240"/>
                  <a:gd name="T5" fmla="*/ 105 h 144"/>
                  <a:gd name="T6" fmla="*/ 135 w 240"/>
                  <a:gd name="T7" fmla="*/ 72 h 144"/>
                  <a:gd name="T8" fmla="*/ 168 w 240"/>
                  <a:gd name="T9" fmla="*/ 39 h 144"/>
                  <a:gd name="T10" fmla="*/ 99 w 240"/>
                  <a:gd name="T11" fmla="*/ 91 h 144"/>
                  <a:gd name="T12" fmla="*/ 168 w 240"/>
                  <a:gd name="T13" fmla="*/ 144 h 144"/>
                  <a:gd name="T14" fmla="*/ 240 w 240"/>
                  <a:gd name="T15" fmla="*/ 72 h 144"/>
                  <a:gd name="T16" fmla="*/ 168 w 240"/>
                  <a:gd name="T17" fmla="*/ 0 h 144"/>
                  <a:gd name="T18" fmla="*/ 100 w 240"/>
                  <a:gd name="T19" fmla="*/ 50 h 144"/>
                  <a:gd name="T20" fmla="*/ 0 w 240"/>
                  <a:gd name="T21" fmla="*/ 50 h 144"/>
                  <a:gd name="T22" fmla="*/ 0 w 240"/>
                  <a:gd name="T23" fmla="*/ 91 h 144"/>
                  <a:gd name="T24" fmla="*/ 99 w 240"/>
                  <a:gd name="T25" fmla="*/ 9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0" h="144">
                    <a:moveTo>
                      <a:pt x="168" y="39"/>
                    </a:moveTo>
                    <a:cubicBezTo>
                      <a:pt x="186" y="39"/>
                      <a:pt x="201" y="54"/>
                      <a:pt x="201" y="72"/>
                    </a:cubicBezTo>
                    <a:cubicBezTo>
                      <a:pt x="201" y="90"/>
                      <a:pt x="186" y="105"/>
                      <a:pt x="168" y="105"/>
                    </a:cubicBezTo>
                    <a:cubicBezTo>
                      <a:pt x="150" y="105"/>
                      <a:pt x="135" y="90"/>
                      <a:pt x="135" y="72"/>
                    </a:cubicBezTo>
                    <a:cubicBezTo>
                      <a:pt x="135" y="54"/>
                      <a:pt x="150" y="39"/>
                      <a:pt x="168" y="39"/>
                    </a:cubicBezTo>
                    <a:close/>
                    <a:moveTo>
                      <a:pt x="99" y="91"/>
                    </a:moveTo>
                    <a:cubicBezTo>
                      <a:pt x="108" y="122"/>
                      <a:pt x="136" y="144"/>
                      <a:pt x="168" y="144"/>
                    </a:cubicBezTo>
                    <a:cubicBezTo>
                      <a:pt x="208" y="144"/>
                      <a:pt x="240" y="111"/>
                      <a:pt x="240" y="72"/>
                    </a:cubicBezTo>
                    <a:cubicBezTo>
                      <a:pt x="240" y="33"/>
                      <a:pt x="208" y="0"/>
                      <a:pt x="168" y="0"/>
                    </a:cubicBezTo>
                    <a:cubicBezTo>
                      <a:pt x="138" y="0"/>
                      <a:pt x="110" y="21"/>
                      <a:pt x="100" y="50"/>
                    </a:cubicBezTo>
                    <a:lnTo>
                      <a:pt x="0" y="50"/>
                    </a:lnTo>
                    <a:lnTo>
                      <a:pt x="0" y="91"/>
                    </a:lnTo>
                    <a:lnTo>
                      <a:pt x="99" y="9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4" name="Freeform 176">
                <a:extLst>
                  <a:ext uri="{FF2B5EF4-FFF2-40B4-BE49-F238E27FC236}">
                    <a16:creationId xmlns:a16="http://schemas.microsoft.com/office/drawing/2014/main" id="{3B920A4B-6D1C-4792-A76D-2B37245B2F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73763" y="4457700"/>
                <a:ext cx="442913" cy="306388"/>
              </a:xfrm>
              <a:custGeom>
                <a:avLst/>
                <a:gdLst>
                  <a:gd name="T0" fmla="*/ 104 w 622"/>
                  <a:gd name="T1" fmla="*/ 72 h 430"/>
                  <a:gd name="T2" fmla="*/ 71 w 622"/>
                  <a:gd name="T3" fmla="*/ 105 h 430"/>
                  <a:gd name="T4" fmla="*/ 38 w 622"/>
                  <a:gd name="T5" fmla="*/ 72 h 430"/>
                  <a:gd name="T6" fmla="*/ 71 w 622"/>
                  <a:gd name="T7" fmla="*/ 39 h 430"/>
                  <a:gd name="T8" fmla="*/ 104 w 622"/>
                  <a:gd name="T9" fmla="*/ 72 h 430"/>
                  <a:gd name="T10" fmla="*/ 430 w 622"/>
                  <a:gd name="T11" fmla="*/ 391 h 430"/>
                  <a:gd name="T12" fmla="*/ 397 w 622"/>
                  <a:gd name="T13" fmla="*/ 358 h 430"/>
                  <a:gd name="T14" fmla="*/ 430 w 622"/>
                  <a:gd name="T15" fmla="*/ 325 h 430"/>
                  <a:gd name="T16" fmla="*/ 463 w 622"/>
                  <a:gd name="T17" fmla="*/ 358 h 430"/>
                  <a:gd name="T18" fmla="*/ 430 w 622"/>
                  <a:gd name="T19" fmla="*/ 391 h 430"/>
                  <a:gd name="T20" fmla="*/ 0 w 622"/>
                  <a:gd name="T21" fmla="*/ 72 h 430"/>
                  <a:gd name="T22" fmla="*/ 71 w 622"/>
                  <a:gd name="T23" fmla="*/ 143 h 430"/>
                  <a:gd name="T24" fmla="*/ 140 w 622"/>
                  <a:gd name="T25" fmla="*/ 92 h 430"/>
                  <a:gd name="T26" fmla="*/ 581 w 622"/>
                  <a:gd name="T27" fmla="*/ 92 h 430"/>
                  <a:gd name="T28" fmla="*/ 581 w 622"/>
                  <a:gd name="T29" fmla="*/ 338 h 430"/>
                  <a:gd name="T30" fmla="*/ 499 w 622"/>
                  <a:gd name="T31" fmla="*/ 338 h 430"/>
                  <a:gd name="T32" fmla="*/ 430 w 622"/>
                  <a:gd name="T33" fmla="*/ 287 h 430"/>
                  <a:gd name="T34" fmla="*/ 359 w 622"/>
                  <a:gd name="T35" fmla="*/ 358 h 430"/>
                  <a:gd name="T36" fmla="*/ 430 w 622"/>
                  <a:gd name="T37" fmla="*/ 430 h 430"/>
                  <a:gd name="T38" fmla="*/ 499 w 622"/>
                  <a:gd name="T39" fmla="*/ 379 h 430"/>
                  <a:gd name="T40" fmla="*/ 602 w 622"/>
                  <a:gd name="T41" fmla="*/ 379 h 430"/>
                  <a:gd name="T42" fmla="*/ 622 w 622"/>
                  <a:gd name="T43" fmla="*/ 358 h 430"/>
                  <a:gd name="T44" fmla="*/ 622 w 622"/>
                  <a:gd name="T45" fmla="*/ 72 h 430"/>
                  <a:gd name="T46" fmla="*/ 602 w 622"/>
                  <a:gd name="T47" fmla="*/ 51 h 430"/>
                  <a:gd name="T48" fmla="*/ 140 w 622"/>
                  <a:gd name="T49" fmla="*/ 51 h 430"/>
                  <a:gd name="T50" fmla="*/ 71 w 622"/>
                  <a:gd name="T51" fmla="*/ 0 h 430"/>
                  <a:gd name="T52" fmla="*/ 0 w 622"/>
                  <a:gd name="T53" fmla="*/ 72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22" h="430">
                    <a:moveTo>
                      <a:pt x="104" y="72"/>
                    </a:moveTo>
                    <a:cubicBezTo>
                      <a:pt x="104" y="90"/>
                      <a:pt x="90" y="105"/>
                      <a:pt x="71" y="105"/>
                    </a:cubicBezTo>
                    <a:cubicBezTo>
                      <a:pt x="53" y="105"/>
                      <a:pt x="38" y="90"/>
                      <a:pt x="38" y="72"/>
                    </a:cubicBezTo>
                    <a:cubicBezTo>
                      <a:pt x="38" y="53"/>
                      <a:pt x="53" y="39"/>
                      <a:pt x="71" y="39"/>
                    </a:cubicBezTo>
                    <a:cubicBezTo>
                      <a:pt x="90" y="39"/>
                      <a:pt x="104" y="53"/>
                      <a:pt x="104" y="72"/>
                    </a:cubicBezTo>
                    <a:close/>
                    <a:moveTo>
                      <a:pt x="430" y="391"/>
                    </a:moveTo>
                    <a:cubicBezTo>
                      <a:pt x="412" y="391"/>
                      <a:pt x="397" y="377"/>
                      <a:pt x="397" y="358"/>
                    </a:cubicBezTo>
                    <a:cubicBezTo>
                      <a:pt x="397" y="340"/>
                      <a:pt x="412" y="325"/>
                      <a:pt x="430" y="325"/>
                    </a:cubicBezTo>
                    <a:cubicBezTo>
                      <a:pt x="448" y="325"/>
                      <a:pt x="463" y="340"/>
                      <a:pt x="463" y="358"/>
                    </a:cubicBezTo>
                    <a:cubicBezTo>
                      <a:pt x="463" y="377"/>
                      <a:pt x="448" y="391"/>
                      <a:pt x="430" y="391"/>
                    </a:cubicBezTo>
                    <a:close/>
                    <a:moveTo>
                      <a:pt x="0" y="72"/>
                    </a:moveTo>
                    <a:cubicBezTo>
                      <a:pt x="0" y="111"/>
                      <a:pt x="32" y="143"/>
                      <a:pt x="71" y="143"/>
                    </a:cubicBezTo>
                    <a:cubicBezTo>
                      <a:pt x="103" y="143"/>
                      <a:pt x="131" y="122"/>
                      <a:pt x="140" y="92"/>
                    </a:cubicBezTo>
                    <a:lnTo>
                      <a:pt x="581" y="92"/>
                    </a:lnTo>
                    <a:lnTo>
                      <a:pt x="581" y="338"/>
                    </a:lnTo>
                    <a:lnTo>
                      <a:pt x="499" y="338"/>
                    </a:lnTo>
                    <a:cubicBezTo>
                      <a:pt x="490" y="308"/>
                      <a:pt x="462" y="287"/>
                      <a:pt x="430" y="287"/>
                    </a:cubicBezTo>
                    <a:cubicBezTo>
                      <a:pt x="391" y="287"/>
                      <a:pt x="359" y="319"/>
                      <a:pt x="359" y="358"/>
                    </a:cubicBezTo>
                    <a:cubicBezTo>
                      <a:pt x="359" y="398"/>
                      <a:pt x="391" y="430"/>
                      <a:pt x="430" y="430"/>
                    </a:cubicBezTo>
                    <a:cubicBezTo>
                      <a:pt x="462" y="430"/>
                      <a:pt x="490" y="409"/>
                      <a:pt x="499" y="379"/>
                    </a:cubicBezTo>
                    <a:lnTo>
                      <a:pt x="602" y="379"/>
                    </a:lnTo>
                    <a:cubicBezTo>
                      <a:pt x="613" y="379"/>
                      <a:pt x="622" y="370"/>
                      <a:pt x="622" y="358"/>
                    </a:cubicBezTo>
                    <a:lnTo>
                      <a:pt x="622" y="72"/>
                    </a:lnTo>
                    <a:cubicBezTo>
                      <a:pt x="622" y="60"/>
                      <a:pt x="613" y="51"/>
                      <a:pt x="602" y="51"/>
                    </a:cubicBezTo>
                    <a:lnTo>
                      <a:pt x="140" y="51"/>
                    </a:lnTo>
                    <a:cubicBezTo>
                      <a:pt x="131" y="21"/>
                      <a:pt x="103" y="0"/>
                      <a:pt x="71" y="0"/>
                    </a:cubicBezTo>
                    <a:cubicBezTo>
                      <a:pt x="32" y="0"/>
                      <a:pt x="0" y="32"/>
                      <a:pt x="0" y="7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5" name="Freeform 177">
                <a:extLst>
                  <a:ext uri="{FF2B5EF4-FFF2-40B4-BE49-F238E27FC236}">
                    <a16:creationId xmlns:a16="http://schemas.microsoft.com/office/drawing/2014/main" id="{395B450D-83CA-4D0B-BA9F-2448F497C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1188" y="4514850"/>
                <a:ext cx="395288" cy="412750"/>
              </a:xfrm>
              <a:custGeom>
                <a:avLst/>
                <a:gdLst>
                  <a:gd name="T0" fmla="*/ 38 w 554"/>
                  <a:gd name="T1" fmla="*/ 290 h 580"/>
                  <a:gd name="T2" fmla="*/ 165 w 554"/>
                  <a:gd name="T3" fmla="*/ 408 h 580"/>
                  <a:gd name="T4" fmla="*/ 296 w 554"/>
                  <a:gd name="T5" fmla="*/ 563 h 580"/>
                  <a:gd name="T6" fmla="*/ 334 w 554"/>
                  <a:gd name="T7" fmla="*/ 580 h 580"/>
                  <a:gd name="T8" fmla="*/ 377 w 554"/>
                  <a:gd name="T9" fmla="*/ 562 h 580"/>
                  <a:gd name="T10" fmla="*/ 392 w 554"/>
                  <a:gd name="T11" fmla="*/ 486 h 580"/>
                  <a:gd name="T12" fmla="*/ 264 w 554"/>
                  <a:gd name="T13" fmla="*/ 332 h 580"/>
                  <a:gd name="T14" fmla="*/ 383 w 554"/>
                  <a:gd name="T15" fmla="*/ 332 h 580"/>
                  <a:gd name="T16" fmla="*/ 410 w 554"/>
                  <a:gd name="T17" fmla="*/ 360 h 580"/>
                  <a:gd name="T18" fmla="*/ 554 w 554"/>
                  <a:gd name="T19" fmla="*/ 360 h 580"/>
                  <a:gd name="T20" fmla="*/ 479 w 554"/>
                  <a:gd name="T21" fmla="*/ 233 h 580"/>
                  <a:gd name="T22" fmla="*/ 255 w 554"/>
                  <a:gd name="T23" fmla="*/ 66 h 580"/>
                  <a:gd name="T24" fmla="*/ 230 w 554"/>
                  <a:gd name="T25" fmla="*/ 0 h 580"/>
                  <a:gd name="T26" fmla="*/ 0 w 554"/>
                  <a:gd name="T27" fmla="*/ 0 h 580"/>
                  <a:gd name="T28" fmla="*/ 0 w 554"/>
                  <a:gd name="T29" fmla="*/ 201 h 580"/>
                  <a:gd name="T30" fmla="*/ 38 w 554"/>
                  <a:gd name="T31" fmla="*/ 29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4" h="580">
                    <a:moveTo>
                      <a:pt x="38" y="290"/>
                    </a:moveTo>
                    <a:lnTo>
                      <a:pt x="165" y="408"/>
                    </a:lnTo>
                    <a:lnTo>
                      <a:pt x="296" y="563"/>
                    </a:lnTo>
                    <a:cubicBezTo>
                      <a:pt x="307" y="574"/>
                      <a:pt x="320" y="580"/>
                      <a:pt x="334" y="580"/>
                    </a:cubicBezTo>
                    <a:cubicBezTo>
                      <a:pt x="348" y="580"/>
                      <a:pt x="363" y="574"/>
                      <a:pt x="377" y="562"/>
                    </a:cubicBezTo>
                    <a:cubicBezTo>
                      <a:pt x="407" y="536"/>
                      <a:pt x="408" y="508"/>
                      <a:pt x="392" y="486"/>
                    </a:cubicBezTo>
                    <a:lnTo>
                      <a:pt x="264" y="332"/>
                    </a:lnTo>
                    <a:lnTo>
                      <a:pt x="383" y="332"/>
                    </a:lnTo>
                    <a:lnTo>
                      <a:pt x="410" y="360"/>
                    </a:lnTo>
                    <a:lnTo>
                      <a:pt x="554" y="360"/>
                    </a:lnTo>
                    <a:lnTo>
                      <a:pt x="479" y="233"/>
                    </a:lnTo>
                    <a:lnTo>
                      <a:pt x="255" y="66"/>
                    </a:lnTo>
                    <a:lnTo>
                      <a:pt x="230" y="0"/>
                    </a:lnTo>
                    <a:lnTo>
                      <a:pt x="0" y="0"/>
                    </a:lnTo>
                    <a:lnTo>
                      <a:pt x="0" y="201"/>
                    </a:lnTo>
                    <a:cubicBezTo>
                      <a:pt x="2" y="247"/>
                      <a:pt x="17" y="270"/>
                      <a:pt x="38" y="29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6" name="Freeform 178">
                <a:extLst>
                  <a:ext uri="{FF2B5EF4-FFF2-40B4-BE49-F238E27FC236}">
                    <a16:creationId xmlns:a16="http://schemas.microsoft.com/office/drawing/2014/main" id="{2D3574FB-4592-4081-A386-EE61F3E47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9938" y="4895850"/>
                <a:ext cx="63500" cy="168275"/>
              </a:xfrm>
              <a:custGeom>
                <a:avLst/>
                <a:gdLst>
                  <a:gd name="T0" fmla="*/ 51 w 88"/>
                  <a:gd name="T1" fmla="*/ 183 h 235"/>
                  <a:gd name="T2" fmla="*/ 51 w 88"/>
                  <a:gd name="T3" fmla="*/ 59 h 235"/>
                  <a:gd name="T4" fmla="*/ 0 w 88"/>
                  <a:gd name="T5" fmla="*/ 0 h 235"/>
                  <a:gd name="T6" fmla="*/ 0 w 88"/>
                  <a:gd name="T7" fmla="*/ 196 h 235"/>
                  <a:gd name="T8" fmla="*/ 38 w 88"/>
                  <a:gd name="T9" fmla="*/ 235 h 235"/>
                  <a:gd name="T10" fmla="*/ 77 w 88"/>
                  <a:gd name="T11" fmla="*/ 235 h 235"/>
                  <a:gd name="T12" fmla="*/ 88 w 88"/>
                  <a:gd name="T13" fmla="*/ 183 h 235"/>
                  <a:gd name="T14" fmla="*/ 51 w 88"/>
                  <a:gd name="T15" fmla="*/ 183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235">
                    <a:moveTo>
                      <a:pt x="51" y="183"/>
                    </a:moveTo>
                    <a:lnTo>
                      <a:pt x="51" y="59"/>
                    </a:lnTo>
                    <a:lnTo>
                      <a:pt x="0" y="0"/>
                    </a:lnTo>
                    <a:lnTo>
                      <a:pt x="0" y="196"/>
                    </a:lnTo>
                    <a:cubicBezTo>
                      <a:pt x="0" y="217"/>
                      <a:pt x="17" y="235"/>
                      <a:pt x="38" y="235"/>
                    </a:cubicBezTo>
                    <a:lnTo>
                      <a:pt x="77" y="235"/>
                    </a:lnTo>
                    <a:lnTo>
                      <a:pt x="88" y="183"/>
                    </a:lnTo>
                    <a:lnTo>
                      <a:pt x="51" y="18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7" name="Freeform 179">
                <a:extLst>
                  <a:ext uri="{FF2B5EF4-FFF2-40B4-BE49-F238E27FC236}">
                    <a16:creationId xmlns:a16="http://schemas.microsoft.com/office/drawing/2014/main" id="{1C443006-4F6B-4B39-BA6C-940A9A55D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9125" y="4762500"/>
                <a:ext cx="144463" cy="128588"/>
              </a:xfrm>
              <a:custGeom>
                <a:avLst/>
                <a:gdLst>
                  <a:gd name="T0" fmla="*/ 23 w 201"/>
                  <a:gd name="T1" fmla="*/ 0 h 181"/>
                  <a:gd name="T2" fmla="*/ 11 w 201"/>
                  <a:gd name="T3" fmla="*/ 72 h 181"/>
                  <a:gd name="T4" fmla="*/ 83 w 201"/>
                  <a:gd name="T5" fmla="*/ 89 h 181"/>
                  <a:gd name="T6" fmla="*/ 80 w 201"/>
                  <a:gd name="T7" fmla="*/ 155 h 181"/>
                  <a:gd name="T8" fmla="*/ 201 w 201"/>
                  <a:gd name="T9" fmla="*/ 181 h 181"/>
                  <a:gd name="T10" fmla="*/ 120 w 201"/>
                  <a:gd name="T11" fmla="*/ 87 h 181"/>
                  <a:gd name="T12" fmla="*/ 23 w 201"/>
                  <a:gd name="T1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1" h="181">
                    <a:moveTo>
                      <a:pt x="23" y="0"/>
                    </a:moveTo>
                    <a:cubicBezTo>
                      <a:pt x="2" y="9"/>
                      <a:pt x="0" y="43"/>
                      <a:pt x="11" y="72"/>
                    </a:cubicBezTo>
                    <a:lnTo>
                      <a:pt x="83" y="89"/>
                    </a:lnTo>
                    <a:cubicBezTo>
                      <a:pt x="62" y="112"/>
                      <a:pt x="80" y="155"/>
                      <a:pt x="80" y="155"/>
                    </a:cubicBezTo>
                    <a:lnTo>
                      <a:pt x="201" y="181"/>
                    </a:lnTo>
                    <a:lnTo>
                      <a:pt x="120" y="87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8" name="Freeform 180">
                <a:extLst>
                  <a:ext uri="{FF2B5EF4-FFF2-40B4-BE49-F238E27FC236}">
                    <a16:creationId xmlns:a16="http://schemas.microsoft.com/office/drawing/2014/main" id="{49371F59-024B-4A08-9E88-A93CB0113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6613" y="4976813"/>
                <a:ext cx="500063" cy="157163"/>
              </a:xfrm>
              <a:custGeom>
                <a:avLst/>
                <a:gdLst>
                  <a:gd name="T0" fmla="*/ 38 w 703"/>
                  <a:gd name="T1" fmla="*/ 22 h 221"/>
                  <a:gd name="T2" fmla="*/ 0 w 703"/>
                  <a:gd name="T3" fmla="*/ 199 h 221"/>
                  <a:gd name="T4" fmla="*/ 22 w 703"/>
                  <a:gd name="T5" fmla="*/ 221 h 221"/>
                  <a:gd name="T6" fmla="*/ 681 w 703"/>
                  <a:gd name="T7" fmla="*/ 221 h 221"/>
                  <a:gd name="T8" fmla="*/ 703 w 703"/>
                  <a:gd name="T9" fmla="*/ 199 h 221"/>
                  <a:gd name="T10" fmla="*/ 665 w 703"/>
                  <a:gd name="T11" fmla="*/ 22 h 221"/>
                  <a:gd name="T12" fmla="*/ 643 w 703"/>
                  <a:gd name="T13" fmla="*/ 0 h 221"/>
                  <a:gd name="T14" fmla="*/ 620 w 703"/>
                  <a:gd name="T15" fmla="*/ 0 h 221"/>
                  <a:gd name="T16" fmla="*/ 624 w 703"/>
                  <a:gd name="T17" fmla="*/ 17 h 221"/>
                  <a:gd name="T18" fmla="*/ 653 w 703"/>
                  <a:gd name="T19" fmla="*/ 152 h 221"/>
                  <a:gd name="T20" fmla="*/ 617 w 703"/>
                  <a:gd name="T21" fmla="*/ 152 h 221"/>
                  <a:gd name="T22" fmla="*/ 589 w 703"/>
                  <a:gd name="T23" fmla="*/ 22 h 221"/>
                  <a:gd name="T24" fmla="*/ 566 w 703"/>
                  <a:gd name="T25" fmla="*/ 0 h 221"/>
                  <a:gd name="T26" fmla="*/ 60 w 703"/>
                  <a:gd name="T27" fmla="*/ 0 h 221"/>
                  <a:gd name="T28" fmla="*/ 38 w 703"/>
                  <a:gd name="T29" fmla="*/ 2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03" h="221">
                    <a:moveTo>
                      <a:pt x="38" y="22"/>
                    </a:moveTo>
                    <a:lnTo>
                      <a:pt x="0" y="199"/>
                    </a:lnTo>
                    <a:cubicBezTo>
                      <a:pt x="0" y="211"/>
                      <a:pt x="10" y="221"/>
                      <a:pt x="22" y="221"/>
                    </a:cubicBezTo>
                    <a:lnTo>
                      <a:pt x="681" y="221"/>
                    </a:lnTo>
                    <a:cubicBezTo>
                      <a:pt x="693" y="221"/>
                      <a:pt x="703" y="211"/>
                      <a:pt x="703" y="199"/>
                    </a:cubicBezTo>
                    <a:lnTo>
                      <a:pt x="665" y="22"/>
                    </a:lnTo>
                    <a:cubicBezTo>
                      <a:pt x="665" y="10"/>
                      <a:pt x="655" y="0"/>
                      <a:pt x="643" y="0"/>
                    </a:cubicBezTo>
                    <a:lnTo>
                      <a:pt x="620" y="0"/>
                    </a:lnTo>
                    <a:cubicBezTo>
                      <a:pt x="622" y="6"/>
                      <a:pt x="624" y="11"/>
                      <a:pt x="624" y="17"/>
                    </a:cubicBezTo>
                    <a:lnTo>
                      <a:pt x="653" y="152"/>
                    </a:lnTo>
                    <a:lnTo>
                      <a:pt x="617" y="152"/>
                    </a:lnTo>
                    <a:lnTo>
                      <a:pt x="589" y="22"/>
                    </a:lnTo>
                    <a:cubicBezTo>
                      <a:pt x="585" y="10"/>
                      <a:pt x="579" y="0"/>
                      <a:pt x="566" y="0"/>
                    </a:cubicBezTo>
                    <a:lnTo>
                      <a:pt x="60" y="0"/>
                    </a:lnTo>
                    <a:cubicBezTo>
                      <a:pt x="48" y="0"/>
                      <a:pt x="40" y="9"/>
                      <a:pt x="38" y="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79" name="Freeform 181">
                <a:extLst>
                  <a:ext uri="{FF2B5EF4-FFF2-40B4-BE49-F238E27FC236}">
                    <a16:creationId xmlns:a16="http://schemas.microsoft.com/office/drawing/2014/main" id="{2270C6BA-DAD4-430B-B1D4-0832E4C16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300" y="4800600"/>
                <a:ext cx="314325" cy="152400"/>
              </a:xfrm>
              <a:custGeom>
                <a:avLst/>
                <a:gdLst>
                  <a:gd name="T0" fmla="*/ 404 w 442"/>
                  <a:gd name="T1" fmla="*/ 0 h 215"/>
                  <a:gd name="T2" fmla="*/ 0 w 442"/>
                  <a:gd name="T3" fmla="*/ 0 h 215"/>
                  <a:gd name="T4" fmla="*/ 43 w 442"/>
                  <a:gd name="T5" fmla="*/ 51 h 215"/>
                  <a:gd name="T6" fmla="*/ 391 w 442"/>
                  <a:gd name="T7" fmla="*/ 51 h 215"/>
                  <a:gd name="T8" fmla="*/ 391 w 442"/>
                  <a:gd name="T9" fmla="*/ 215 h 215"/>
                  <a:gd name="T10" fmla="*/ 442 w 442"/>
                  <a:gd name="T11" fmla="*/ 215 h 215"/>
                  <a:gd name="T12" fmla="*/ 442 w 442"/>
                  <a:gd name="T13" fmla="*/ 38 h 215"/>
                  <a:gd name="T14" fmla="*/ 404 w 442"/>
                  <a:gd name="T15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2" h="215">
                    <a:moveTo>
                      <a:pt x="404" y="0"/>
                    </a:moveTo>
                    <a:lnTo>
                      <a:pt x="0" y="0"/>
                    </a:lnTo>
                    <a:lnTo>
                      <a:pt x="43" y="51"/>
                    </a:lnTo>
                    <a:lnTo>
                      <a:pt x="391" y="51"/>
                    </a:lnTo>
                    <a:lnTo>
                      <a:pt x="391" y="215"/>
                    </a:lnTo>
                    <a:lnTo>
                      <a:pt x="442" y="215"/>
                    </a:lnTo>
                    <a:lnTo>
                      <a:pt x="442" y="38"/>
                    </a:lnTo>
                    <a:cubicBezTo>
                      <a:pt x="442" y="17"/>
                      <a:pt x="425" y="0"/>
                      <a:pt x="404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80" name="Freeform 182">
                <a:extLst>
                  <a:ext uri="{FF2B5EF4-FFF2-40B4-BE49-F238E27FC236}">
                    <a16:creationId xmlns:a16="http://schemas.microsoft.com/office/drawing/2014/main" id="{5DC29D70-E82D-40F5-B35E-B0F7EE671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3925" y="4879975"/>
                <a:ext cx="77788" cy="25400"/>
              </a:xfrm>
              <a:custGeom>
                <a:avLst/>
                <a:gdLst>
                  <a:gd name="T0" fmla="*/ 108 w 108"/>
                  <a:gd name="T1" fmla="*/ 35 h 35"/>
                  <a:gd name="T2" fmla="*/ 108 w 108"/>
                  <a:gd name="T3" fmla="*/ 0 h 35"/>
                  <a:gd name="T4" fmla="*/ 6 w 108"/>
                  <a:gd name="T5" fmla="*/ 0 h 35"/>
                  <a:gd name="T6" fmla="*/ 0 w 108"/>
                  <a:gd name="T7" fmla="*/ 35 h 35"/>
                  <a:gd name="T8" fmla="*/ 108 w 108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35">
                    <a:moveTo>
                      <a:pt x="108" y="35"/>
                    </a:moveTo>
                    <a:lnTo>
                      <a:pt x="108" y="0"/>
                    </a:lnTo>
                    <a:lnTo>
                      <a:pt x="6" y="0"/>
                    </a:lnTo>
                    <a:cubicBezTo>
                      <a:pt x="6" y="11"/>
                      <a:pt x="4" y="23"/>
                      <a:pt x="0" y="35"/>
                    </a:cubicBezTo>
                    <a:lnTo>
                      <a:pt x="108" y="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81" name="Freeform 183">
                <a:extLst>
                  <a:ext uri="{FF2B5EF4-FFF2-40B4-BE49-F238E27FC236}">
                    <a16:creationId xmlns:a16="http://schemas.microsoft.com/office/drawing/2014/main" id="{33E96CC3-BB29-4E98-B8FB-3E5B262DDF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24575" y="4854575"/>
                <a:ext cx="87313" cy="85725"/>
              </a:xfrm>
              <a:custGeom>
                <a:avLst/>
                <a:gdLst>
                  <a:gd name="T0" fmla="*/ 61 w 123"/>
                  <a:gd name="T1" fmla="*/ 96 h 121"/>
                  <a:gd name="T2" fmla="*/ 26 w 123"/>
                  <a:gd name="T3" fmla="*/ 61 h 121"/>
                  <a:gd name="T4" fmla="*/ 61 w 123"/>
                  <a:gd name="T5" fmla="*/ 26 h 121"/>
                  <a:gd name="T6" fmla="*/ 97 w 123"/>
                  <a:gd name="T7" fmla="*/ 61 h 121"/>
                  <a:gd name="T8" fmla="*/ 61 w 123"/>
                  <a:gd name="T9" fmla="*/ 96 h 121"/>
                  <a:gd name="T10" fmla="*/ 12 w 123"/>
                  <a:gd name="T11" fmla="*/ 0 h 121"/>
                  <a:gd name="T12" fmla="*/ 0 w 123"/>
                  <a:gd name="T13" fmla="*/ 14 h 121"/>
                  <a:gd name="T14" fmla="*/ 0 w 123"/>
                  <a:gd name="T15" fmla="*/ 108 h 121"/>
                  <a:gd name="T16" fmla="*/ 12 w 123"/>
                  <a:gd name="T17" fmla="*/ 121 h 121"/>
                  <a:gd name="T18" fmla="*/ 111 w 123"/>
                  <a:gd name="T19" fmla="*/ 121 h 121"/>
                  <a:gd name="T20" fmla="*/ 123 w 123"/>
                  <a:gd name="T21" fmla="*/ 108 h 121"/>
                  <a:gd name="T22" fmla="*/ 123 w 123"/>
                  <a:gd name="T23" fmla="*/ 14 h 121"/>
                  <a:gd name="T24" fmla="*/ 111 w 123"/>
                  <a:gd name="T25" fmla="*/ 0 h 121"/>
                  <a:gd name="T26" fmla="*/ 12 w 123"/>
                  <a:gd name="T2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3" h="121">
                    <a:moveTo>
                      <a:pt x="61" y="96"/>
                    </a:moveTo>
                    <a:cubicBezTo>
                      <a:pt x="42" y="96"/>
                      <a:pt x="26" y="80"/>
                      <a:pt x="26" y="61"/>
                    </a:cubicBezTo>
                    <a:cubicBezTo>
                      <a:pt x="26" y="41"/>
                      <a:pt x="42" y="26"/>
                      <a:pt x="61" y="26"/>
                    </a:cubicBezTo>
                    <a:cubicBezTo>
                      <a:pt x="81" y="26"/>
                      <a:pt x="97" y="41"/>
                      <a:pt x="97" y="61"/>
                    </a:cubicBezTo>
                    <a:cubicBezTo>
                      <a:pt x="97" y="80"/>
                      <a:pt x="81" y="96"/>
                      <a:pt x="61" y="96"/>
                    </a:cubicBezTo>
                    <a:close/>
                    <a:moveTo>
                      <a:pt x="12" y="0"/>
                    </a:moveTo>
                    <a:cubicBezTo>
                      <a:pt x="5" y="0"/>
                      <a:pt x="0" y="6"/>
                      <a:pt x="0" y="14"/>
                    </a:cubicBezTo>
                    <a:lnTo>
                      <a:pt x="0" y="108"/>
                    </a:lnTo>
                    <a:cubicBezTo>
                      <a:pt x="0" y="115"/>
                      <a:pt x="5" y="121"/>
                      <a:pt x="12" y="121"/>
                    </a:cubicBezTo>
                    <a:lnTo>
                      <a:pt x="111" y="121"/>
                    </a:lnTo>
                    <a:cubicBezTo>
                      <a:pt x="117" y="121"/>
                      <a:pt x="123" y="115"/>
                      <a:pt x="123" y="108"/>
                    </a:cubicBezTo>
                    <a:lnTo>
                      <a:pt x="123" y="14"/>
                    </a:lnTo>
                    <a:cubicBezTo>
                      <a:pt x="123" y="6"/>
                      <a:pt x="117" y="0"/>
                      <a:pt x="111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782" name="Big_data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15909089-D679-483C-A657-2C15CF641F55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6644212" y="4544934"/>
              <a:ext cx="437898" cy="370825"/>
              <a:chOff x="2879725" y="4430713"/>
              <a:chExt cx="901701" cy="763587"/>
            </a:xfrm>
            <a:solidFill>
              <a:srgbClr val="A5A5A5"/>
            </a:solidFill>
          </p:grpSpPr>
          <p:sp>
            <p:nvSpPr>
              <p:cNvPr id="783" name="Freeform 192">
                <a:extLst>
                  <a:ext uri="{FF2B5EF4-FFF2-40B4-BE49-F238E27FC236}">
                    <a16:creationId xmlns:a16="http://schemas.microsoft.com/office/drawing/2014/main" id="{74167DFA-8B1A-4CE8-A5E0-F97AB06E42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2188" y="4525963"/>
                <a:ext cx="79375" cy="136525"/>
              </a:xfrm>
              <a:custGeom>
                <a:avLst/>
                <a:gdLst>
                  <a:gd name="T0" fmla="*/ 79 w 113"/>
                  <a:gd name="T1" fmla="*/ 192 h 192"/>
                  <a:gd name="T2" fmla="*/ 79 w 113"/>
                  <a:gd name="T3" fmla="*/ 108 h 192"/>
                  <a:gd name="T4" fmla="*/ 113 w 113"/>
                  <a:gd name="T5" fmla="*/ 57 h 192"/>
                  <a:gd name="T6" fmla="*/ 57 w 113"/>
                  <a:gd name="T7" fmla="*/ 0 h 192"/>
                  <a:gd name="T8" fmla="*/ 0 w 113"/>
                  <a:gd name="T9" fmla="*/ 57 h 192"/>
                  <a:gd name="T10" fmla="*/ 34 w 113"/>
                  <a:gd name="T11" fmla="*/ 108 h 192"/>
                  <a:gd name="T12" fmla="*/ 34 w 113"/>
                  <a:gd name="T13" fmla="*/ 169 h 192"/>
                  <a:gd name="T14" fmla="*/ 79 w 113"/>
                  <a:gd name="T15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3" h="192">
                    <a:moveTo>
                      <a:pt x="79" y="192"/>
                    </a:moveTo>
                    <a:lnTo>
                      <a:pt x="79" y="108"/>
                    </a:lnTo>
                    <a:cubicBezTo>
                      <a:pt x="100" y="100"/>
                      <a:pt x="113" y="79"/>
                      <a:pt x="113" y="57"/>
                    </a:cubicBezTo>
                    <a:cubicBezTo>
                      <a:pt x="113" y="26"/>
                      <a:pt x="88" y="0"/>
                      <a:pt x="57" y="0"/>
                    </a:cubicBezTo>
                    <a:cubicBezTo>
                      <a:pt x="26" y="0"/>
                      <a:pt x="0" y="26"/>
                      <a:pt x="0" y="57"/>
                    </a:cubicBezTo>
                    <a:cubicBezTo>
                      <a:pt x="0" y="79"/>
                      <a:pt x="14" y="100"/>
                      <a:pt x="34" y="108"/>
                    </a:cubicBezTo>
                    <a:lnTo>
                      <a:pt x="34" y="169"/>
                    </a:lnTo>
                    <a:cubicBezTo>
                      <a:pt x="51" y="176"/>
                      <a:pt x="66" y="184"/>
                      <a:pt x="79" y="19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84" name="Freeform 193">
                <a:extLst>
                  <a:ext uri="{FF2B5EF4-FFF2-40B4-BE49-F238E27FC236}">
                    <a16:creationId xmlns:a16="http://schemas.microsoft.com/office/drawing/2014/main" id="{7C001F73-9543-420F-AEA0-C536D5577B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35325" y="4430713"/>
                <a:ext cx="517525" cy="319088"/>
              </a:xfrm>
              <a:custGeom>
                <a:avLst/>
                <a:gdLst>
                  <a:gd name="T0" fmla="*/ 655 w 728"/>
                  <a:gd name="T1" fmla="*/ 407 h 449"/>
                  <a:gd name="T2" fmla="*/ 624 w 728"/>
                  <a:gd name="T3" fmla="*/ 376 h 449"/>
                  <a:gd name="T4" fmla="*/ 655 w 728"/>
                  <a:gd name="T5" fmla="*/ 345 h 449"/>
                  <a:gd name="T6" fmla="*/ 685 w 728"/>
                  <a:gd name="T7" fmla="*/ 376 h 449"/>
                  <a:gd name="T8" fmla="*/ 655 w 728"/>
                  <a:gd name="T9" fmla="*/ 407 h 449"/>
                  <a:gd name="T10" fmla="*/ 74 w 728"/>
                  <a:gd name="T11" fmla="*/ 42 h 449"/>
                  <a:gd name="T12" fmla="*/ 105 w 728"/>
                  <a:gd name="T13" fmla="*/ 73 h 449"/>
                  <a:gd name="T14" fmla="*/ 74 w 728"/>
                  <a:gd name="T15" fmla="*/ 104 h 449"/>
                  <a:gd name="T16" fmla="*/ 43 w 728"/>
                  <a:gd name="T17" fmla="*/ 73 h 449"/>
                  <a:gd name="T18" fmla="*/ 74 w 728"/>
                  <a:gd name="T19" fmla="*/ 42 h 449"/>
                  <a:gd name="T20" fmla="*/ 74 w 728"/>
                  <a:gd name="T21" fmla="*/ 147 h 449"/>
                  <a:gd name="T22" fmla="*/ 143 w 728"/>
                  <a:gd name="T23" fmla="*/ 98 h 449"/>
                  <a:gd name="T24" fmla="*/ 632 w 728"/>
                  <a:gd name="T25" fmla="*/ 98 h 449"/>
                  <a:gd name="T26" fmla="*/ 632 w 728"/>
                  <a:gd name="T27" fmla="*/ 306 h 449"/>
                  <a:gd name="T28" fmla="*/ 581 w 728"/>
                  <a:gd name="T29" fmla="*/ 376 h 449"/>
                  <a:gd name="T30" fmla="*/ 655 w 728"/>
                  <a:gd name="T31" fmla="*/ 449 h 449"/>
                  <a:gd name="T32" fmla="*/ 728 w 728"/>
                  <a:gd name="T33" fmla="*/ 376 h 449"/>
                  <a:gd name="T34" fmla="*/ 677 w 728"/>
                  <a:gd name="T35" fmla="*/ 306 h 449"/>
                  <a:gd name="T36" fmla="*/ 677 w 728"/>
                  <a:gd name="T37" fmla="*/ 75 h 449"/>
                  <a:gd name="T38" fmla="*/ 655 w 728"/>
                  <a:gd name="T39" fmla="*/ 53 h 449"/>
                  <a:gd name="T40" fmla="*/ 145 w 728"/>
                  <a:gd name="T41" fmla="*/ 53 h 449"/>
                  <a:gd name="T42" fmla="*/ 74 w 728"/>
                  <a:gd name="T43" fmla="*/ 0 h 449"/>
                  <a:gd name="T44" fmla="*/ 0 w 728"/>
                  <a:gd name="T45" fmla="*/ 73 h 449"/>
                  <a:gd name="T46" fmla="*/ 74 w 728"/>
                  <a:gd name="T47" fmla="*/ 147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8" h="449">
                    <a:moveTo>
                      <a:pt x="655" y="407"/>
                    </a:moveTo>
                    <a:cubicBezTo>
                      <a:pt x="637" y="407"/>
                      <a:pt x="624" y="393"/>
                      <a:pt x="624" y="376"/>
                    </a:cubicBezTo>
                    <a:cubicBezTo>
                      <a:pt x="624" y="359"/>
                      <a:pt x="637" y="345"/>
                      <a:pt x="655" y="345"/>
                    </a:cubicBezTo>
                    <a:cubicBezTo>
                      <a:pt x="672" y="345"/>
                      <a:pt x="685" y="359"/>
                      <a:pt x="685" y="376"/>
                    </a:cubicBezTo>
                    <a:cubicBezTo>
                      <a:pt x="685" y="393"/>
                      <a:pt x="672" y="407"/>
                      <a:pt x="655" y="407"/>
                    </a:cubicBezTo>
                    <a:close/>
                    <a:moveTo>
                      <a:pt x="74" y="42"/>
                    </a:moveTo>
                    <a:cubicBezTo>
                      <a:pt x="91" y="42"/>
                      <a:pt x="105" y="56"/>
                      <a:pt x="105" y="73"/>
                    </a:cubicBezTo>
                    <a:cubicBezTo>
                      <a:pt x="105" y="90"/>
                      <a:pt x="91" y="104"/>
                      <a:pt x="74" y="104"/>
                    </a:cubicBezTo>
                    <a:cubicBezTo>
                      <a:pt x="57" y="104"/>
                      <a:pt x="43" y="90"/>
                      <a:pt x="43" y="73"/>
                    </a:cubicBezTo>
                    <a:cubicBezTo>
                      <a:pt x="43" y="56"/>
                      <a:pt x="57" y="42"/>
                      <a:pt x="74" y="42"/>
                    </a:cubicBezTo>
                    <a:close/>
                    <a:moveTo>
                      <a:pt x="74" y="147"/>
                    </a:moveTo>
                    <a:cubicBezTo>
                      <a:pt x="105" y="147"/>
                      <a:pt x="133" y="127"/>
                      <a:pt x="143" y="98"/>
                    </a:cubicBezTo>
                    <a:lnTo>
                      <a:pt x="632" y="98"/>
                    </a:lnTo>
                    <a:lnTo>
                      <a:pt x="632" y="306"/>
                    </a:lnTo>
                    <a:cubicBezTo>
                      <a:pt x="602" y="315"/>
                      <a:pt x="581" y="344"/>
                      <a:pt x="581" y="376"/>
                    </a:cubicBezTo>
                    <a:cubicBezTo>
                      <a:pt x="581" y="416"/>
                      <a:pt x="614" y="449"/>
                      <a:pt x="655" y="449"/>
                    </a:cubicBezTo>
                    <a:cubicBezTo>
                      <a:pt x="695" y="449"/>
                      <a:pt x="728" y="416"/>
                      <a:pt x="728" y="376"/>
                    </a:cubicBezTo>
                    <a:cubicBezTo>
                      <a:pt x="728" y="344"/>
                      <a:pt x="707" y="315"/>
                      <a:pt x="677" y="306"/>
                    </a:cubicBezTo>
                    <a:lnTo>
                      <a:pt x="677" y="75"/>
                    </a:lnTo>
                    <a:cubicBezTo>
                      <a:pt x="677" y="63"/>
                      <a:pt x="667" y="53"/>
                      <a:pt x="655" y="53"/>
                    </a:cubicBezTo>
                    <a:lnTo>
                      <a:pt x="145" y="53"/>
                    </a:lnTo>
                    <a:cubicBezTo>
                      <a:pt x="135" y="21"/>
                      <a:pt x="107" y="0"/>
                      <a:pt x="74" y="0"/>
                    </a:cubicBezTo>
                    <a:cubicBezTo>
                      <a:pt x="33" y="0"/>
                      <a:pt x="0" y="33"/>
                      <a:pt x="0" y="73"/>
                    </a:cubicBezTo>
                    <a:cubicBezTo>
                      <a:pt x="0" y="114"/>
                      <a:pt x="33" y="147"/>
                      <a:pt x="74" y="14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85" name="Freeform 194">
                <a:extLst>
                  <a:ext uri="{FF2B5EF4-FFF2-40B4-BE49-F238E27FC236}">
                    <a16:creationId xmlns:a16="http://schemas.microsoft.com/office/drawing/2014/main" id="{0E187F9E-071D-4064-ACFE-6C2ACE5747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4538" y="4525963"/>
                <a:ext cx="190500" cy="106363"/>
              </a:xfrm>
              <a:custGeom>
                <a:avLst/>
                <a:gdLst>
                  <a:gd name="T0" fmla="*/ 194 w 268"/>
                  <a:gd name="T1" fmla="*/ 43 h 148"/>
                  <a:gd name="T2" fmla="*/ 225 w 268"/>
                  <a:gd name="T3" fmla="*/ 74 h 148"/>
                  <a:gd name="T4" fmla="*/ 194 w 268"/>
                  <a:gd name="T5" fmla="*/ 105 h 148"/>
                  <a:gd name="T6" fmla="*/ 163 w 268"/>
                  <a:gd name="T7" fmla="*/ 74 h 148"/>
                  <a:gd name="T8" fmla="*/ 194 w 268"/>
                  <a:gd name="T9" fmla="*/ 43 h 148"/>
                  <a:gd name="T10" fmla="*/ 45 w 268"/>
                  <a:gd name="T11" fmla="*/ 140 h 148"/>
                  <a:gd name="T12" fmla="*/ 45 w 268"/>
                  <a:gd name="T13" fmla="*/ 97 h 148"/>
                  <a:gd name="T14" fmla="*/ 124 w 268"/>
                  <a:gd name="T15" fmla="*/ 97 h 148"/>
                  <a:gd name="T16" fmla="*/ 194 w 268"/>
                  <a:gd name="T17" fmla="*/ 148 h 148"/>
                  <a:gd name="T18" fmla="*/ 268 w 268"/>
                  <a:gd name="T19" fmla="*/ 74 h 148"/>
                  <a:gd name="T20" fmla="*/ 194 w 268"/>
                  <a:gd name="T21" fmla="*/ 0 h 148"/>
                  <a:gd name="T22" fmla="*/ 124 w 268"/>
                  <a:gd name="T23" fmla="*/ 52 h 148"/>
                  <a:gd name="T24" fmla="*/ 23 w 268"/>
                  <a:gd name="T25" fmla="*/ 52 h 148"/>
                  <a:gd name="T26" fmla="*/ 0 w 268"/>
                  <a:gd name="T27" fmla="*/ 74 h 148"/>
                  <a:gd name="T28" fmla="*/ 0 w 268"/>
                  <a:gd name="T29" fmla="*/ 126 h 148"/>
                  <a:gd name="T30" fmla="*/ 45 w 268"/>
                  <a:gd name="T31" fmla="*/ 14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8" h="148">
                    <a:moveTo>
                      <a:pt x="194" y="43"/>
                    </a:moveTo>
                    <a:cubicBezTo>
                      <a:pt x="211" y="43"/>
                      <a:pt x="225" y="57"/>
                      <a:pt x="225" y="74"/>
                    </a:cubicBezTo>
                    <a:cubicBezTo>
                      <a:pt x="225" y="91"/>
                      <a:pt x="211" y="105"/>
                      <a:pt x="194" y="105"/>
                    </a:cubicBezTo>
                    <a:cubicBezTo>
                      <a:pt x="177" y="105"/>
                      <a:pt x="163" y="91"/>
                      <a:pt x="163" y="74"/>
                    </a:cubicBezTo>
                    <a:cubicBezTo>
                      <a:pt x="163" y="57"/>
                      <a:pt x="177" y="43"/>
                      <a:pt x="194" y="43"/>
                    </a:cubicBezTo>
                    <a:close/>
                    <a:moveTo>
                      <a:pt x="45" y="140"/>
                    </a:moveTo>
                    <a:lnTo>
                      <a:pt x="45" y="97"/>
                    </a:lnTo>
                    <a:lnTo>
                      <a:pt x="124" y="97"/>
                    </a:lnTo>
                    <a:cubicBezTo>
                      <a:pt x="134" y="127"/>
                      <a:pt x="162" y="148"/>
                      <a:pt x="194" y="148"/>
                    </a:cubicBezTo>
                    <a:cubicBezTo>
                      <a:pt x="235" y="148"/>
                      <a:pt x="268" y="115"/>
                      <a:pt x="268" y="74"/>
                    </a:cubicBezTo>
                    <a:cubicBezTo>
                      <a:pt x="268" y="34"/>
                      <a:pt x="235" y="0"/>
                      <a:pt x="194" y="0"/>
                    </a:cubicBezTo>
                    <a:cubicBezTo>
                      <a:pt x="162" y="0"/>
                      <a:pt x="134" y="21"/>
                      <a:pt x="124" y="52"/>
                    </a:cubicBezTo>
                    <a:lnTo>
                      <a:pt x="23" y="52"/>
                    </a:lnTo>
                    <a:cubicBezTo>
                      <a:pt x="10" y="52"/>
                      <a:pt x="0" y="62"/>
                      <a:pt x="0" y="74"/>
                    </a:cubicBezTo>
                    <a:lnTo>
                      <a:pt x="0" y="126"/>
                    </a:lnTo>
                    <a:cubicBezTo>
                      <a:pt x="16" y="130"/>
                      <a:pt x="31" y="134"/>
                      <a:pt x="45" y="14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86" name="Freeform 195">
                <a:extLst>
                  <a:ext uri="{FF2B5EF4-FFF2-40B4-BE49-F238E27FC236}">
                    <a16:creationId xmlns:a16="http://schemas.microsoft.com/office/drawing/2014/main" id="{47D6D727-5C0E-4EE1-BC10-87C7AA261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2300" y="4754563"/>
                <a:ext cx="179388" cy="225425"/>
              </a:xfrm>
              <a:custGeom>
                <a:avLst/>
                <a:gdLst>
                  <a:gd name="T0" fmla="*/ 0 w 252"/>
                  <a:gd name="T1" fmla="*/ 214 h 317"/>
                  <a:gd name="T2" fmla="*/ 18 w 252"/>
                  <a:gd name="T3" fmla="*/ 300 h 317"/>
                  <a:gd name="T4" fmla="*/ 98 w 252"/>
                  <a:gd name="T5" fmla="*/ 315 h 317"/>
                  <a:gd name="T6" fmla="*/ 61 w 252"/>
                  <a:gd name="T7" fmla="*/ 214 h 317"/>
                  <a:gd name="T8" fmla="*/ 215 w 252"/>
                  <a:gd name="T9" fmla="*/ 60 h 317"/>
                  <a:gd name="T10" fmla="*/ 252 w 252"/>
                  <a:gd name="T11" fmla="*/ 64 h 317"/>
                  <a:gd name="T12" fmla="*/ 202 w 252"/>
                  <a:gd name="T13" fmla="*/ 0 h 317"/>
                  <a:gd name="T14" fmla="*/ 0 w 252"/>
                  <a:gd name="T15" fmla="*/ 214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2" h="317">
                    <a:moveTo>
                      <a:pt x="0" y="214"/>
                    </a:moveTo>
                    <a:cubicBezTo>
                      <a:pt x="0" y="245"/>
                      <a:pt x="7" y="273"/>
                      <a:pt x="18" y="300"/>
                    </a:cubicBezTo>
                    <a:cubicBezTo>
                      <a:pt x="44" y="313"/>
                      <a:pt x="81" y="317"/>
                      <a:pt x="98" y="315"/>
                    </a:cubicBezTo>
                    <a:cubicBezTo>
                      <a:pt x="75" y="288"/>
                      <a:pt x="61" y="253"/>
                      <a:pt x="61" y="214"/>
                    </a:cubicBezTo>
                    <a:cubicBezTo>
                      <a:pt x="61" y="129"/>
                      <a:pt x="130" y="60"/>
                      <a:pt x="215" y="60"/>
                    </a:cubicBezTo>
                    <a:cubicBezTo>
                      <a:pt x="231" y="60"/>
                      <a:pt x="244" y="62"/>
                      <a:pt x="252" y="64"/>
                    </a:cubicBezTo>
                    <a:cubicBezTo>
                      <a:pt x="245" y="46"/>
                      <a:pt x="217" y="9"/>
                      <a:pt x="202" y="0"/>
                    </a:cubicBezTo>
                    <a:cubicBezTo>
                      <a:pt x="90" y="7"/>
                      <a:pt x="0" y="100"/>
                      <a:pt x="0" y="214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87" name="Freeform 196">
                <a:extLst>
                  <a:ext uri="{FF2B5EF4-FFF2-40B4-BE49-F238E27FC236}">
                    <a16:creationId xmlns:a16="http://schemas.microsoft.com/office/drawing/2014/main" id="{30F1063B-2BEF-498D-BE8F-20E98D592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263" y="4660900"/>
                <a:ext cx="411163" cy="398463"/>
              </a:xfrm>
              <a:custGeom>
                <a:avLst/>
                <a:gdLst>
                  <a:gd name="T0" fmla="*/ 577 w 577"/>
                  <a:gd name="T1" fmla="*/ 363 h 561"/>
                  <a:gd name="T2" fmla="*/ 370 w 577"/>
                  <a:gd name="T3" fmla="*/ 166 h 561"/>
                  <a:gd name="T4" fmla="*/ 268 w 577"/>
                  <a:gd name="T5" fmla="*/ 44 h 561"/>
                  <a:gd name="T6" fmla="*/ 58 w 577"/>
                  <a:gd name="T7" fmla="*/ 30 h 561"/>
                  <a:gd name="T8" fmla="*/ 96 w 577"/>
                  <a:gd name="T9" fmla="*/ 80 h 561"/>
                  <a:gd name="T10" fmla="*/ 241 w 577"/>
                  <a:gd name="T11" fmla="*/ 98 h 561"/>
                  <a:gd name="T12" fmla="*/ 321 w 577"/>
                  <a:gd name="T13" fmla="*/ 214 h 561"/>
                  <a:gd name="T14" fmla="*/ 350 w 577"/>
                  <a:gd name="T15" fmla="*/ 229 h 561"/>
                  <a:gd name="T16" fmla="*/ 380 w 577"/>
                  <a:gd name="T17" fmla="*/ 226 h 561"/>
                  <a:gd name="T18" fmla="*/ 517 w 577"/>
                  <a:gd name="T19" fmla="*/ 363 h 561"/>
                  <a:gd name="T20" fmla="*/ 380 w 577"/>
                  <a:gd name="T21" fmla="*/ 501 h 561"/>
                  <a:gd name="T22" fmla="*/ 66 w 577"/>
                  <a:gd name="T23" fmla="*/ 501 h 561"/>
                  <a:gd name="T24" fmla="*/ 0 w 577"/>
                  <a:gd name="T25" fmla="*/ 561 h 561"/>
                  <a:gd name="T26" fmla="*/ 380 w 577"/>
                  <a:gd name="T27" fmla="*/ 561 h 561"/>
                  <a:gd name="T28" fmla="*/ 577 w 577"/>
                  <a:gd name="T29" fmla="*/ 363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7" h="561">
                    <a:moveTo>
                      <a:pt x="577" y="363"/>
                    </a:moveTo>
                    <a:cubicBezTo>
                      <a:pt x="577" y="251"/>
                      <a:pt x="484" y="160"/>
                      <a:pt x="370" y="166"/>
                    </a:cubicBezTo>
                    <a:cubicBezTo>
                      <a:pt x="351" y="114"/>
                      <a:pt x="320" y="76"/>
                      <a:pt x="268" y="44"/>
                    </a:cubicBezTo>
                    <a:cubicBezTo>
                      <a:pt x="212" y="8"/>
                      <a:pt x="123" y="0"/>
                      <a:pt x="58" y="30"/>
                    </a:cubicBezTo>
                    <a:cubicBezTo>
                      <a:pt x="72" y="46"/>
                      <a:pt x="85" y="62"/>
                      <a:pt x="96" y="80"/>
                    </a:cubicBezTo>
                    <a:cubicBezTo>
                      <a:pt x="133" y="69"/>
                      <a:pt x="191" y="64"/>
                      <a:pt x="241" y="98"/>
                    </a:cubicBezTo>
                    <a:cubicBezTo>
                      <a:pt x="298" y="136"/>
                      <a:pt x="312" y="179"/>
                      <a:pt x="321" y="214"/>
                    </a:cubicBezTo>
                    <a:cubicBezTo>
                      <a:pt x="323" y="224"/>
                      <a:pt x="335" y="231"/>
                      <a:pt x="350" y="229"/>
                    </a:cubicBezTo>
                    <a:cubicBezTo>
                      <a:pt x="362" y="227"/>
                      <a:pt x="372" y="226"/>
                      <a:pt x="380" y="226"/>
                    </a:cubicBezTo>
                    <a:cubicBezTo>
                      <a:pt x="456" y="226"/>
                      <a:pt x="517" y="288"/>
                      <a:pt x="517" y="363"/>
                    </a:cubicBezTo>
                    <a:cubicBezTo>
                      <a:pt x="517" y="439"/>
                      <a:pt x="456" y="501"/>
                      <a:pt x="380" y="501"/>
                    </a:cubicBezTo>
                    <a:lnTo>
                      <a:pt x="66" y="501"/>
                    </a:lnTo>
                    <a:cubicBezTo>
                      <a:pt x="47" y="523"/>
                      <a:pt x="25" y="543"/>
                      <a:pt x="0" y="561"/>
                    </a:cubicBezTo>
                    <a:lnTo>
                      <a:pt x="380" y="561"/>
                    </a:lnTo>
                    <a:cubicBezTo>
                      <a:pt x="489" y="561"/>
                      <a:pt x="577" y="472"/>
                      <a:pt x="577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88" name="Freeform 197">
                <a:extLst>
                  <a:ext uri="{FF2B5EF4-FFF2-40B4-BE49-F238E27FC236}">
                    <a16:creationId xmlns:a16="http://schemas.microsoft.com/office/drawing/2014/main" id="{3D0B4D1F-17B6-41CD-ADAE-E73C68E073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9725" y="4638675"/>
                <a:ext cx="592138" cy="555625"/>
              </a:xfrm>
              <a:custGeom>
                <a:avLst/>
                <a:gdLst>
                  <a:gd name="T0" fmla="*/ 284 w 830"/>
                  <a:gd name="T1" fmla="*/ 411 h 781"/>
                  <a:gd name="T2" fmla="*/ 376 w 830"/>
                  <a:gd name="T3" fmla="*/ 98 h 781"/>
                  <a:gd name="T4" fmla="*/ 487 w 830"/>
                  <a:gd name="T5" fmla="*/ 70 h 781"/>
                  <a:gd name="T6" fmla="*/ 689 w 830"/>
                  <a:gd name="T7" fmla="*/ 189 h 781"/>
                  <a:gd name="T8" fmla="*/ 598 w 830"/>
                  <a:gd name="T9" fmla="*/ 503 h 781"/>
                  <a:gd name="T10" fmla="*/ 487 w 830"/>
                  <a:gd name="T11" fmla="*/ 531 h 781"/>
                  <a:gd name="T12" fmla="*/ 284 w 830"/>
                  <a:gd name="T13" fmla="*/ 411 h 781"/>
                  <a:gd name="T14" fmla="*/ 488 w 830"/>
                  <a:gd name="T15" fmla="*/ 601 h 781"/>
                  <a:gd name="T16" fmla="*/ 631 w 830"/>
                  <a:gd name="T17" fmla="*/ 564 h 781"/>
                  <a:gd name="T18" fmla="*/ 750 w 830"/>
                  <a:gd name="T19" fmla="*/ 156 h 781"/>
                  <a:gd name="T20" fmla="*/ 487 w 830"/>
                  <a:gd name="T21" fmla="*/ 0 h 781"/>
                  <a:gd name="T22" fmla="*/ 343 w 830"/>
                  <a:gd name="T23" fmla="*/ 37 h 781"/>
                  <a:gd name="T24" fmla="*/ 222 w 830"/>
                  <a:gd name="T25" fmla="*/ 441 h 781"/>
                  <a:gd name="T26" fmla="*/ 53 w 830"/>
                  <a:gd name="T27" fmla="*/ 585 h 781"/>
                  <a:gd name="T28" fmla="*/ 48 w 830"/>
                  <a:gd name="T29" fmla="*/ 747 h 781"/>
                  <a:gd name="T30" fmla="*/ 128 w 830"/>
                  <a:gd name="T31" fmla="*/ 781 h 781"/>
                  <a:gd name="T32" fmla="*/ 210 w 830"/>
                  <a:gd name="T33" fmla="*/ 741 h 781"/>
                  <a:gd name="T34" fmla="*/ 353 w 830"/>
                  <a:gd name="T35" fmla="*/ 569 h 781"/>
                  <a:gd name="T36" fmla="*/ 488 w 830"/>
                  <a:gd name="T37" fmla="*/ 601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30" h="781">
                    <a:moveTo>
                      <a:pt x="284" y="411"/>
                    </a:moveTo>
                    <a:cubicBezTo>
                      <a:pt x="224" y="299"/>
                      <a:pt x="264" y="159"/>
                      <a:pt x="376" y="98"/>
                    </a:cubicBezTo>
                    <a:cubicBezTo>
                      <a:pt x="411" y="79"/>
                      <a:pt x="449" y="70"/>
                      <a:pt x="487" y="70"/>
                    </a:cubicBezTo>
                    <a:cubicBezTo>
                      <a:pt x="568" y="70"/>
                      <a:pt x="647" y="113"/>
                      <a:pt x="689" y="189"/>
                    </a:cubicBezTo>
                    <a:cubicBezTo>
                      <a:pt x="750" y="301"/>
                      <a:pt x="709" y="441"/>
                      <a:pt x="598" y="503"/>
                    </a:cubicBezTo>
                    <a:cubicBezTo>
                      <a:pt x="562" y="522"/>
                      <a:pt x="525" y="531"/>
                      <a:pt x="487" y="531"/>
                    </a:cubicBezTo>
                    <a:cubicBezTo>
                      <a:pt x="406" y="531"/>
                      <a:pt x="327" y="487"/>
                      <a:pt x="284" y="411"/>
                    </a:cubicBezTo>
                    <a:close/>
                    <a:moveTo>
                      <a:pt x="488" y="601"/>
                    </a:moveTo>
                    <a:cubicBezTo>
                      <a:pt x="536" y="601"/>
                      <a:pt x="585" y="589"/>
                      <a:pt x="631" y="564"/>
                    </a:cubicBezTo>
                    <a:cubicBezTo>
                      <a:pt x="777" y="484"/>
                      <a:pt x="830" y="302"/>
                      <a:pt x="750" y="156"/>
                    </a:cubicBezTo>
                    <a:cubicBezTo>
                      <a:pt x="696" y="56"/>
                      <a:pt x="593" y="0"/>
                      <a:pt x="487" y="0"/>
                    </a:cubicBezTo>
                    <a:cubicBezTo>
                      <a:pt x="438" y="0"/>
                      <a:pt x="388" y="12"/>
                      <a:pt x="343" y="37"/>
                    </a:cubicBezTo>
                    <a:cubicBezTo>
                      <a:pt x="198" y="116"/>
                      <a:pt x="145" y="296"/>
                      <a:pt x="222" y="441"/>
                    </a:cubicBezTo>
                    <a:lnTo>
                      <a:pt x="53" y="585"/>
                    </a:lnTo>
                    <a:cubicBezTo>
                      <a:pt x="4" y="626"/>
                      <a:pt x="0" y="701"/>
                      <a:pt x="48" y="747"/>
                    </a:cubicBezTo>
                    <a:cubicBezTo>
                      <a:pt x="71" y="769"/>
                      <a:pt x="99" y="781"/>
                      <a:pt x="128" y="781"/>
                    </a:cubicBezTo>
                    <a:cubicBezTo>
                      <a:pt x="158" y="781"/>
                      <a:pt x="188" y="768"/>
                      <a:pt x="210" y="741"/>
                    </a:cubicBezTo>
                    <a:lnTo>
                      <a:pt x="353" y="569"/>
                    </a:lnTo>
                    <a:cubicBezTo>
                      <a:pt x="395" y="590"/>
                      <a:pt x="441" y="601"/>
                      <a:pt x="488" y="60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789" name="Turnover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0E57A27-C9D2-4E5A-8879-C487C983F22F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3083086" y="3027805"/>
              <a:ext cx="515568" cy="493568"/>
              <a:chOff x="6729413" y="53975"/>
              <a:chExt cx="855663" cy="819150"/>
            </a:xfrm>
            <a:solidFill>
              <a:srgbClr val="4472C4"/>
            </a:solidFill>
          </p:grpSpPr>
          <p:sp>
            <p:nvSpPr>
              <p:cNvPr id="790" name="Freeform 163">
                <a:extLst>
                  <a:ext uri="{FF2B5EF4-FFF2-40B4-BE49-F238E27FC236}">
                    <a16:creationId xmlns:a16="http://schemas.microsoft.com/office/drawing/2014/main" id="{25EC0CF3-DC54-4E75-818E-94E5F3B406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7575" y="188913"/>
                <a:ext cx="219075" cy="201613"/>
              </a:xfrm>
              <a:custGeom>
                <a:avLst/>
                <a:gdLst>
                  <a:gd name="T0" fmla="*/ 234 w 287"/>
                  <a:gd name="T1" fmla="*/ 170 h 264"/>
                  <a:gd name="T2" fmla="*/ 19 w 287"/>
                  <a:gd name="T3" fmla="*/ 0 h 264"/>
                  <a:gd name="T4" fmla="*/ 0 w 287"/>
                  <a:gd name="T5" fmla="*/ 43 h 264"/>
                  <a:gd name="T6" fmla="*/ 192 w 287"/>
                  <a:gd name="T7" fmla="*/ 193 h 264"/>
                  <a:gd name="T8" fmla="*/ 141 w 287"/>
                  <a:gd name="T9" fmla="*/ 220 h 264"/>
                  <a:gd name="T10" fmla="*/ 258 w 287"/>
                  <a:gd name="T11" fmla="*/ 264 h 264"/>
                  <a:gd name="T12" fmla="*/ 287 w 287"/>
                  <a:gd name="T13" fmla="*/ 142 h 264"/>
                  <a:gd name="T14" fmla="*/ 234 w 287"/>
                  <a:gd name="T15" fmla="*/ 17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7" h="264">
                    <a:moveTo>
                      <a:pt x="234" y="170"/>
                    </a:moveTo>
                    <a:cubicBezTo>
                      <a:pt x="182" y="94"/>
                      <a:pt x="107" y="33"/>
                      <a:pt x="19" y="0"/>
                    </a:cubicBezTo>
                    <a:cubicBezTo>
                      <a:pt x="14" y="15"/>
                      <a:pt x="8" y="30"/>
                      <a:pt x="0" y="43"/>
                    </a:cubicBezTo>
                    <a:cubicBezTo>
                      <a:pt x="78" y="73"/>
                      <a:pt x="145" y="125"/>
                      <a:pt x="192" y="193"/>
                    </a:cubicBezTo>
                    <a:lnTo>
                      <a:pt x="141" y="220"/>
                    </a:lnTo>
                    <a:lnTo>
                      <a:pt x="258" y="264"/>
                    </a:lnTo>
                    <a:lnTo>
                      <a:pt x="287" y="142"/>
                    </a:lnTo>
                    <a:lnTo>
                      <a:pt x="234" y="17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1" name="Freeform 164">
                <a:extLst>
                  <a:ext uri="{FF2B5EF4-FFF2-40B4-BE49-F238E27FC236}">
                    <a16:creationId xmlns:a16="http://schemas.microsoft.com/office/drawing/2014/main" id="{3045BD0B-C3F7-43FD-A20A-42575C0CB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9800" y="711200"/>
                <a:ext cx="157163" cy="120650"/>
              </a:xfrm>
              <a:custGeom>
                <a:avLst/>
                <a:gdLst>
                  <a:gd name="T0" fmla="*/ 19 w 206"/>
                  <a:gd name="T1" fmla="*/ 159 h 159"/>
                  <a:gd name="T2" fmla="*/ 206 w 206"/>
                  <a:gd name="T3" fmla="*/ 0 h 159"/>
                  <a:gd name="T4" fmla="*/ 147 w 206"/>
                  <a:gd name="T5" fmla="*/ 0 h 159"/>
                  <a:gd name="T6" fmla="*/ 0 w 206"/>
                  <a:gd name="T7" fmla="*/ 116 h 159"/>
                  <a:gd name="T8" fmla="*/ 19 w 206"/>
                  <a:gd name="T9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159">
                    <a:moveTo>
                      <a:pt x="19" y="159"/>
                    </a:moveTo>
                    <a:cubicBezTo>
                      <a:pt x="95" y="124"/>
                      <a:pt x="159" y="69"/>
                      <a:pt x="206" y="0"/>
                    </a:cubicBezTo>
                    <a:lnTo>
                      <a:pt x="147" y="0"/>
                    </a:lnTo>
                    <a:cubicBezTo>
                      <a:pt x="108" y="49"/>
                      <a:pt x="57" y="89"/>
                      <a:pt x="0" y="116"/>
                    </a:cubicBezTo>
                    <a:cubicBezTo>
                      <a:pt x="8" y="128"/>
                      <a:pt x="15" y="143"/>
                      <a:pt x="19" y="15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2" name="Freeform 165">
                <a:extLst>
                  <a:ext uri="{FF2B5EF4-FFF2-40B4-BE49-F238E27FC236}">
                    <a16:creationId xmlns:a16="http://schemas.microsoft.com/office/drawing/2014/main" id="{ABFDC346-96AE-437B-A89E-C678A8DDA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711200"/>
                <a:ext cx="157163" cy="120650"/>
              </a:xfrm>
              <a:custGeom>
                <a:avLst/>
                <a:gdLst>
                  <a:gd name="T0" fmla="*/ 58 w 205"/>
                  <a:gd name="T1" fmla="*/ 0 h 159"/>
                  <a:gd name="T2" fmla="*/ 0 w 205"/>
                  <a:gd name="T3" fmla="*/ 0 h 159"/>
                  <a:gd name="T4" fmla="*/ 186 w 205"/>
                  <a:gd name="T5" fmla="*/ 159 h 159"/>
                  <a:gd name="T6" fmla="*/ 205 w 205"/>
                  <a:gd name="T7" fmla="*/ 115 h 159"/>
                  <a:gd name="T8" fmla="*/ 58 w 205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159">
                    <a:moveTo>
                      <a:pt x="58" y="0"/>
                    </a:moveTo>
                    <a:lnTo>
                      <a:pt x="0" y="0"/>
                    </a:lnTo>
                    <a:cubicBezTo>
                      <a:pt x="46" y="68"/>
                      <a:pt x="111" y="123"/>
                      <a:pt x="186" y="159"/>
                    </a:cubicBezTo>
                    <a:cubicBezTo>
                      <a:pt x="190" y="143"/>
                      <a:pt x="197" y="128"/>
                      <a:pt x="205" y="115"/>
                    </a:cubicBezTo>
                    <a:cubicBezTo>
                      <a:pt x="148" y="89"/>
                      <a:pt x="98" y="49"/>
                      <a:pt x="5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3" name="Freeform 166">
                <a:extLst>
                  <a:ext uri="{FF2B5EF4-FFF2-40B4-BE49-F238E27FC236}">
                    <a16:creationId xmlns:a16="http://schemas.microsoft.com/office/drawing/2014/main" id="{A7AB3068-F424-489C-915A-475171045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6588" y="284163"/>
                <a:ext cx="341313" cy="141288"/>
              </a:xfrm>
              <a:custGeom>
                <a:avLst/>
                <a:gdLst>
                  <a:gd name="T0" fmla="*/ 294 w 447"/>
                  <a:gd name="T1" fmla="*/ 0 h 186"/>
                  <a:gd name="T2" fmla="*/ 224 w 447"/>
                  <a:gd name="T3" fmla="*/ 70 h 186"/>
                  <a:gd name="T4" fmla="*/ 154 w 447"/>
                  <a:gd name="T5" fmla="*/ 0 h 186"/>
                  <a:gd name="T6" fmla="*/ 0 w 447"/>
                  <a:gd name="T7" fmla="*/ 163 h 186"/>
                  <a:gd name="T8" fmla="*/ 0 w 447"/>
                  <a:gd name="T9" fmla="*/ 186 h 186"/>
                  <a:gd name="T10" fmla="*/ 447 w 447"/>
                  <a:gd name="T11" fmla="*/ 186 h 186"/>
                  <a:gd name="T12" fmla="*/ 447 w 447"/>
                  <a:gd name="T13" fmla="*/ 163 h 186"/>
                  <a:gd name="T14" fmla="*/ 294 w 447"/>
                  <a:gd name="T15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7" h="186">
                    <a:moveTo>
                      <a:pt x="294" y="0"/>
                    </a:moveTo>
                    <a:lnTo>
                      <a:pt x="224" y="70"/>
                    </a:lnTo>
                    <a:lnTo>
                      <a:pt x="154" y="0"/>
                    </a:lnTo>
                    <a:cubicBezTo>
                      <a:pt x="65" y="16"/>
                      <a:pt x="0" y="64"/>
                      <a:pt x="0" y="163"/>
                    </a:cubicBezTo>
                    <a:lnTo>
                      <a:pt x="0" y="186"/>
                    </a:lnTo>
                    <a:lnTo>
                      <a:pt x="447" y="186"/>
                    </a:lnTo>
                    <a:lnTo>
                      <a:pt x="447" y="163"/>
                    </a:lnTo>
                    <a:cubicBezTo>
                      <a:pt x="447" y="64"/>
                      <a:pt x="383" y="16"/>
                      <a:pt x="29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4" name="Oval 167">
                <a:extLst>
                  <a:ext uri="{FF2B5EF4-FFF2-40B4-BE49-F238E27FC236}">
                    <a16:creationId xmlns:a16="http://schemas.microsoft.com/office/drawing/2014/main" id="{66E8E944-B8D9-4DC7-AB81-DFFCF9E24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8025" y="53975"/>
                <a:ext cx="200025" cy="20002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5" name="Freeform 168">
                <a:extLst>
                  <a:ext uri="{FF2B5EF4-FFF2-40B4-BE49-F238E27FC236}">
                    <a16:creationId xmlns:a16="http://schemas.microsoft.com/office/drawing/2014/main" id="{69A89548-4045-4394-8B31-5B74F4CC1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413" y="587375"/>
                <a:ext cx="239713" cy="93663"/>
              </a:xfrm>
              <a:custGeom>
                <a:avLst/>
                <a:gdLst>
                  <a:gd name="T0" fmla="*/ 315 w 315"/>
                  <a:gd name="T1" fmla="*/ 113 h 124"/>
                  <a:gd name="T2" fmla="*/ 213 w 315"/>
                  <a:gd name="T3" fmla="*/ 0 h 124"/>
                  <a:gd name="T4" fmla="*/ 158 w 315"/>
                  <a:gd name="T5" fmla="*/ 55 h 124"/>
                  <a:gd name="T6" fmla="*/ 102 w 315"/>
                  <a:gd name="T7" fmla="*/ 0 h 124"/>
                  <a:gd name="T8" fmla="*/ 0 w 315"/>
                  <a:gd name="T9" fmla="*/ 113 h 124"/>
                  <a:gd name="T10" fmla="*/ 0 w 315"/>
                  <a:gd name="T11" fmla="*/ 124 h 124"/>
                  <a:gd name="T12" fmla="*/ 315 w 315"/>
                  <a:gd name="T13" fmla="*/ 124 h 124"/>
                  <a:gd name="T14" fmla="*/ 315 w 315"/>
                  <a:gd name="T15" fmla="*/ 11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5" h="124">
                    <a:moveTo>
                      <a:pt x="315" y="113"/>
                    </a:moveTo>
                    <a:cubicBezTo>
                      <a:pt x="315" y="46"/>
                      <a:pt x="273" y="12"/>
                      <a:pt x="213" y="0"/>
                    </a:cubicBezTo>
                    <a:lnTo>
                      <a:pt x="158" y="55"/>
                    </a:lnTo>
                    <a:lnTo>
                      <a:pt x="102" y="0"/>
                    </a:lnTo>
                    <a:cubicBezTo>
                      <a:pt x="43" y="12"/>
                      <a:pt x="0" y="46"/>
                      <a:pt x="0" y="113"/>
                    </a:cubicBezTo>
                    <a:lnTo>
                      <a:pt x="0" y="124"/>
                    </a:lnTo>
                    <a:lnTo>
                      <a:pt x="315" y="124"/>
                    </a:lnTo>
                    <a:lnTo>
                      <a:pt x="315" y="1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6" name="Oval 169">
                <a:extLst>
                  <a:ext uri="{FF2B5EF4-FFF2-40B4-BE49-F238E27FC236}">
                    <a16:creationId xmlns:a16="http://schemas.microsoft.com/office/drawing/2014/main" id="{8ACEA431-B6D2-4794-A063-9301ABC59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78625" y="423863"/>
                <a:ext cx="141288" cy="13970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7" name="Freeform 170">
                <a:extLst>
                  <a:ext uri="{FF2B5EF4-FFF2-40B4-BE49-F238E27FC236}">
                    <a16:creationId xmlns:a16="http://schemas.microsoft.com/office/drawing/2014/main" id="{B4785811-0483-43C8-A5C6-9C583F1F7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45363" y="587375"/>
                <a:ext cx="239713" cy="93663"/>
              </a:xfrm>
              <a:custGeom>
                <a:avLst/>
                <a:gdLst>
                  <a:gd name="T0" fmla="*/ 157 w 315"/>
                  <a:gd name="T1" fmla="*/ 55 h 124"/>
                  <a:gd name="T2" fmla="*/ 102 w 315"/>
                  <a:gd name="T3" fmla="*/ 0 h 124"/>
                  <a:gd name="T4" fmla="*/ 0 w 315"/>
                  <a:gd name="T5" fmla="*/ 113 h 124"/>
                  <a:gd name="T6" fmla="*/ 0 w 315"/>
                  <a:gd name="T7" fmla="*/ 124 h 124"/>
                  <a:gd name="T8" fmla="*/ 315 w 315"/>
                  <a:gd name="T9" fmla="*/ 124 h 124"/>
                  <a:gd name="T10" fmla="*/ 315 w 315"/>
                  <a:gd name="T11" fmla="*/ 113 h 124"/>
                  <a:gd name="T12" fmla="*/ 213 w 315"/>
                  <a:gd name="T13" fmla="*/ 0 h 124"/>
                  <a:gd name="T14" fmla="*/ 157 w 315"/>
                  <a:gd name="T15" fmla="*/ 5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5" h="124">
                    <a:moveTo>
                      <a:pt x="157" y="55"/>
                    </a:moveTo>
                    <a:lnTo>
                      <a:pt x="102" y="0"/>
                    </a:lnTo>
                    <a:cubicBezTo>
                      <a:pt x="42" y="12"/>
                      <a:pt x="0" y="46"/>
                      <a:pt x="0" y="113"/>
                    </a:cubicBezTo>
                    <a:lnTo>
                      <a:pt x="0" y="124"/>
                    </a:lnTo>
                    <a:lnTo>
                      <a:pt x="315" y="124"/>
                    </a:lnTo>
                    <a:lnTo>
                      <a:pt x="315" y="113"/>
                    </a:lnTo>
                    <a:cubicBezTo>
                      <a:pt x="315" y="46"/>
                      <a:pt x="272" y="12"/>
                      <a:pt x="213" y="0"/>
                    </a:cubicBezTo>
                    <a:lnTo>
                      <a:pt x="157" y="55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8" name="Oval 171">
                <a:extLst>
                  <a:ext uri="{FF2B5EF4-FFF2-40B4-BE49-F238E27FC236}">
                    <a16:creationId xmlns:a16="http://schemas.microsoft.com/office/drawing/2014/main" id="{1033503A-A2C1-4685-90A9-18C41E661B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4575" y="423863"/>
                <a:ext cx="141288" cy="13970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799" name="Freeform 172">
                <a:extLst>
                  <a:ext uri="{FF2B5EF4-FFF2-40B4-BE49-F238E27FC236}">
                    <a16:creationId xmlns:a16="http://schemas.microsoft.com/office/drawing/2014/main" id="{76339EB7-0890-4E55-BD38-B1F1B77A47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7388" y="777875"/>
                <a:ext cx="239713" cy="95250"/>
              </a:xfrm>
              <a:custGeom>
                <a:avLst/>
                <a:gdLst>
                  <a:gd name="T0" fmla="*/ 0 w 314"/>
                  <a:gd name="T1" fmla="*/ 114 h 125"/>
                  <a:gd name="T2" fmla="*/ 0 w 314"/>
                  <a:gd name="T3" fmla="*/ 125 h 125"/>
                  <a:gd name="T4" fmla="*/ 314 w 314"/>
                  <a:gd name="T5" fmla="*/ 125 h 125"/>
                  <a:gd name="T6" fmla="*/ 314 w 314"/>
                  <a:gd name="T7" fmla="*/ 114 h 125"/>
                  <a:gd name="T8" fmla="*/ 212 w 314"/>
                  <a:gd name="T9" fmla="*/ 0 h 125"/>
                  <a:gd name="T10" fmla="*/ 157 w 314"/>
                  <a:gd name="T11" fmla="*/ 56 h 125"/>
                  <a:gd name="T12" fmla="*/ 102 w 314"/>
                  <a:gd name="T13" fmla="*/ 0 h 125"/>
                  <a:gd name="T14" fmla="*/ 0 w 314"/>
                  <a:gd name="T15" fmla="*/ 11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4" h="125">
                    <a:moveTo>
                      <a:pt x="0" y="114"/>
                    </a:moveTo>
                    <a:lnTo>
                      <a:pt x="0" y="125"/>
                    </a:lnTo>
                    <a:lnTo>
                      <a:pt x="314" y="125"/>
                    </a:lnTo>
                    <a:lnTo>
                      <a:pt x="314" y="114"/>
                    </a:lnTo>
                    <a:cubicBezTo>
                      <a:pt x="314" y="46"/>
                      <a:pt x="272" y="12"/>
                      <a:pt x="212" y="0"/>
                    </a:cubicBezTo>
                    <a:lnTo>
                      <a:pt x="157" y="56"/>
                    </a:lnTo>
                    <a:lnTo>
                      <a:pt x="102" y="0"/>
                    </a:lnTo>
                    <a:cubicBezTo>
                      <a:pt x="42" y="12"/>
                      <a:pt x="0" y="46"/>
                      <a:pt x="0" y="114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0" name="Oval 173">
                <a:extLst>
                  <a:ext uri="{FF2B5EF4-FFF2-40B4-BE49-F238E27FC236}">
                    <a16:creationId xmlns:a16="http://schemas.microsoft.com/office/drawing/2014/main" id="{39358168-E6F8-4860-A425-CC2842E39F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88188" y="615950"/>
                <a:ext cx="139700" cy="13970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1" name="Freeform 174">
                <a:extLst>
                  <a:ext uri="{FF2B5EF4-FFF2-40B4-BE49-F238E27FC236}">
                    <a16:creationId xmlns:a16="http://schemas.microsoft.com/office/drawing/2014/main" id="{DC3E9A96-1D24-4639-8830-5F912C016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9425" y="188913"/>
                <a:ext cx="217488" cy="201613"/>
              </a:xfrm>
              <a:custGeom>
                <a:avLst/>
                <a:gdLst>
                  <a:gd name="T0" fmla="*/ 286 w 286"/>
                  <a:gd name="T1" fmla="*/ 43 h 264"/>
                  <a:gd name="T2" fmla="*/ 267 w 286"/>
                  <a:gd name="T3" fmla="*/ 0 h 264"/>
                  <a:gd name="T4" fmla="*/ 52 w 286"/>
                  <a:gd name="T5" fmla="*/ 170 h 264"/>
                  <a:gd name="T6" fmla="*/ 0 w 286"/>
                  <a:gd name="T7" fmla="*/ 142 h 264"/>
                  <a:gd name="T8" fmla="*/ 29 w 286"/>
                  <a:gd name="T9" fmla="*/ 264 h 264"/>
                  <a:gd name="T10" fmla="*/ 146 w 286"/>
                  <a:gd name="T11" fmla="*/ 220 h 264"/>
                  <a:gd name="T12" fmla="*/ 95 w 286"/>
                  <a:gd name="T13" fmla="*/ 193 h 264"/>
                  <a:gd name="T14" fmla="*/ 286 w 286"/>
                  <a:gd name="T15" fmla="*/ 43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6" h="264">
                    <a:moveTo>
                      <a:pt x="286" y="43"/>
                    </a:moveTo>
                    <a:cubicBezTo>
                      <a:pt x="278" y="30"/>
                      <a:pt x="272" y="15"/>
                      <a:pt x="267" y="0"/>
                    </a:cubicBezTo>
                    <a:cubicBezTo>
                      <a:pt x="180" y="34"/>
                      <a:pt x="105" y="94"/>
                      <a:pt x="52" y="170"/>
                    </a:cubicBezTo>
                    <a:lnTo>
                      <a:pt x="0" y="142"/>
                    </a:lnTo>
                    <a:lnTo>
                      <a:pt x="29" y="264"/>
                    </a:lnTo>
                    <a:lnTo>
                      <a:pt x="146" y="220"/>
                    </a:lnTo>
                    <a:lnTo>
                      <a:pt x="95" y="193"/>
                    </a:lnTo>
                    <a:cubicBezTo>
                      <a:pt x="142" y="125"/>
                      <a:pt x="208" y="73"/>
                      <a:pt x="286" y="4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802" name="Automa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7F7EA1E-F338-48D1-93ED-D4472006F8FC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4466236" y="3603694"/>
              <a:ext cx="375765" cy="471170"/>
              <a:chOff x="4370392" y="1606554"/>
              <a:chExt cx="712788" cy="893763"/>
            </a:xfrm>
            <a:solidFill>
              <a:srgbClr val="4472C4"/>
            </a:solidFill>
          </p:grpSpPr>
          <p:sp>
            <p:nvSpPr>
              <p:cNvPr id="803" name="Freeform 259">
                <a:extLst>
                  <a:ext uri="{FF2B5EF4-FFF2-40B4-BE49-F238E27FC236}">
                    <a16:creationId xmlns:a16="http://schemas.microsoft.com/office/drawing/2014/main" id="{140E32F6-9311-4D76-8B83-5A43A2340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1718" y="1941516"/>
                <a:ext cx="195263" cy="174625"/>
              </a:xfrm>
              <a:custGeom>
                <a:avLst/>
                <a:gdLst>
                  <a:gd name="T0" fmla="*/ 55 w 273"/>
                  <a:gd name="T1" fmla="*/ 46 h 245"/>
                  <a:gd name="T2" fmla="*/ 138 w 273"/>
                  <a:gd name="T3" fmla="*/ 0 h 245"/>
                  <a:gd name="T4" fmla="*/ 174 w 273"/>
                  <a:gd name="T5" fmla="*/ 125 h 245"/>
                  <a:gd name="T6" fmla="*/ 273 w 273"/>
                  <a:gd name="T7" fmla="*/ 170 h 245"/>
                  <a:gd name="T8" fmla="*/ 252 w 273"/>
                  <a:gd name="T9" fmla="*/ 232 h 245"/>
                  <a:gd name="T10" fmla="*/ 230 w 273"/>
                  <a:gd name="T11" fmla="*/ 245 h 245"/>
                  <a:gd name="T12" fmla="*/ 111 w 273"/>
                  <a:gd name="T13" fmla="*/ 191 h 245"/>
                  <a:gd name="T14" fmla="*/ 0 w 273"/>
                  <a:gd name="T15" fmla="*/ 34 h 245"/>
                  <a:gd name="T16" fmla="*/ 55 w 273"/>
                  <a:gd name="T17" fmla="*/ 46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3" h="245">
                    <a:moveTo>
                      <a:pt x="55" y="46"/>
                    </a:moveTo>
                    <a:cubicBezTo>
                      <a:pt x="91" y="45"/>
                      <a:pt x="120" y="28"/>
                      <a:pt x="138" y="0"/>
                    </a:cubicBezTo>
                    <a:lnTo>
                      <a:pt x="174" y="125"/>
                    </a:lnTo>
                    <a:lnTo>
                      <a:pt x="273" y="170"/>
                    </a:lnTo>
                    <a:lnTo>
                      <a:pt x="252" y="232"/>
                    </a:lnTo>
                    <a:lnTo>
                      <a:pt x="230" y="245"/>
                    </a:lnTo>
                    <a:lnTo>
                      <a:pt x="111" y="191"/>
                    </a:lnTo>
                    <a:lnTo>
                      <a:pt x="0" y="34"/>
                    </a:lnTo>
                    <a:cubicBezTo>
                      <a:pt x="16" y="42"/>
                      <a:pt x="37" y="46"/>
                      <a:pt x="55" y="4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4" name="Freeform 260">
                <a:extLst>
                  <a:ext uri="{FF2B5EF4-FFF2-40B4-BE49-F238E27FC236}">
                    <a16:creationId xmlns:a16="http://schemas.microsoft.com/office/drawing/2014/main" id="{4E9C07C3-93E1-4DD5-9D5A-2B426B278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1042" y="2238379"/>
                <a:ext cx="427038" cy="261938"/>
              </a:xfrm>
              <a:custGeom>
                <a:avLst/>
                <a:gdLst>
                  <a:gd name="T0" fmla="*/ 600 w 600"/>
                  <a:gd name="T1" fmla="*/ 137 h 368"/>
                  <a:gd name="T2" fmla="*/ 513 w 600"/>
                  <a:gd name="T3" fmla="*/ 15 h 368"/>
                  <a:gd name="T4" fmla="*/ 484 w 600"/>
                  <a:gd name="T5" fmla="*/ 0 h 368"/>
                  <a:gd name="T6" fmla="*/ 483 w 600"/>
                  <a:gd name="T7" fmla="*/ 14 h 368"/>
                  <a:gd name="T8" fmla="*/ 455 w 600"/>
                  <a:gd name="T9" fmla="*/ 69 h 368"/>
                  <a:gd name="T10" fmla="*/ 317 w 600"/>
                  <a:gd name="T11" fmla="*/ 181 h 368"/>
                  <a:gd name="T12" fmla="*/ 269 w 600"/>
                  <a:gd name="T13" fmla="*/ 197 h 368"/>
                  <a:gd name="T14" fmla="*/ 225 w 600"/>
                  <a:gd name="T15" fmla="*/ 188 h 368"/>
                  <a:gd name="T16" fmla="*/ 134 w 600"/>
                  <a:gd name="T17" fmla="*/ 118 h 368"/>
                  <a:gd name="T18" fmla="*/ 64 w 600"/>
                  <a:gd name="T19" fmla="*/ 31 h 368"/>
                  <a:gd name="T20" fmla="*/ 0 w 600"/>
                  <a:gd name="T21" fmla="*/ 145 h 368"/>
                  <a:gd name="T22" fmla="*/ 0 w 600"/>
                  <a:gd name="T23" fmla="*/ 178 h 368"/>
                  <a:gd name="T24" fmla="*/ 87 w 600"/>
                  <a:gd name="T25" fmla="*/ 300 h 368"/>
                  <a:gd name="T26" fmla="*/ 511 w 600"/>
                  <a:gd name="T27" fmla="*/ 300 h 368"/>
                  <a:gd name="T28" fmla="*/ 600 w 600"/>
                  <a:gd name="T29" fmla="*/ 177 h 368"/>
                  <a:gd name="T30" fmla="*/ 600 w 600"/>
                  <a:gd name="T31" fmla="*/ 137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0" h="368">
                    <a:moveTo>
                      <a:pt x="600" y="137"/>
                    </a:moveTo>
                    <a:cubicBezTo>
                      <a:pt x="600" y="93"/>
                      <a:pt x="571" y="49"/>
                      <a:pt x="513" y="15"/>
                    </a:cubicBezTo>
                    <a:cubicBezTo>
                      <a:pt x="504" y="10"/>
                      <a:pt x="494" y="5"/>
                      <a:pt x="484" y="0"/>
                    </a:cubicBezTo>
                    <a:cubicBezTo>
                      <a:pt x="484" y="5"/>
                      <a:pt x="484" y="10"/>
                      <a:pt x="483" y="14"/>
                    </a:cubicBezTo>
                    <a:cubicBezTo>
                      <a:pt x="481" y="37"/>
                      <a:pt x="471" y="56"/>
                      <a:pt x="455" y="69"/>
                    </a:cubicBezTo>
                    <a:lnTo>
                      <a:pt x="317" y="181"/>
                    </a:lnTo>
                    <a:cubicBezTo>
                      <a:pt x="304" y="191"/>
                      <a:pt x="287" y="197"/>
                      <a:pt x="269" y="197"/>
                    </a:cubicBezTo>
                    <a:cubicBezTo>
                      <a:pt x="255" y="197"/>
                      <a:pt x="240" y="194"/>
                      <a:pt x="225" y="188"/>
                    </a:cubicBezTo>
                    <a:cubicBezTo>
                      <a:pt x="192" y="175"/>
                      <a:pt x="160" y="150"/>
                      <a:pt x="134" y="118"/>
                    </a:cubicBezTo>
                    <a:lnTo>
                      <a:pt x="64" y="31"/>
                    </a:lnTo>
                    <a:cubicBezTo>
                      <a:pt x="19" y="65"/>
                      <a:pt x="0" y="107"/>
                      <a:pt x="0" y="145"/>
                    </a:cubicBezTo>
                    <a:lnTo>
                      <a:pt x="0" y="178"/>
                    </a:lnTo>
                    <a:cubicBezTo>
                      <a:pt x="0" y="223"/>
                      <a:pt x="29" y="267"/>
                      <a:pt x="87" y="300"/>
                    </a:cubicBezTo>
                    <a:cubicBezTo>
                      <a:pt x="204" y="368"/>
                      <a:pt x="394" y="368"/>
                      <a:pt x="511" y="300"/>
                    </a:cubicBezTo>
                    <a:cubicBezTo>
                      <a:pt x="571" y="266"/>
                      <a:pt x="600" y="221"/>
                      <a:pt x="600" y="177"/>
                    </a:cubicBezTo>
                    <a:lnTo>
                      <a:pt x="600" y="1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5" name="Freeform 261">
                <a:extLst>
                  <a:ext uri="{FF2B5EF4-FFF2-40B4-BE49-F238E27FC236}">
                    <a16:creationId xmlns:a16="http://schemas.microsoft.com/office/drawing/2014/main" id="{FC4AC396-F8DE-4C11-A24E-3A6295B4F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0730" y="1958979"/>
                <a:ext cx="276225" cy="354013"/>
              </a:xfrm>
              <a:custGeom>
                <a:avLst/>
                <a:gdLst>
                  <a:gd name="T0" fmla="*/ 240 w 390"/>
                  <a:gd name="T1" fmla="*/ 383 h 498"/>
                  <a:gd name="T2" fmla="*/ 0 w 390"/>
                  <a:gd name="T3" fmla="*/ 84 h 498"/>
                  <a:gd name="T4" fmla="*/ 106 w 390"/>
                  <a:gd name="T5" fmla="*/ 0 h 498"/>
                  <a:gd name="T6" fmla="*/ 346 w 390"/>
                  <a:gd name="T7" fmla="*/ 297 h 498"/>
                  <a:gd name="T8" fmla="*/ 387 w 390"/>
                  <a:gd name="T9" fmla="*/ 404 h 498"/>
                  <a:gd name="T10" fmla="*/ 374 w 390"/>
                  <a:gd name="T11" fmla="*/ 430 h 498"/>
                  <a:gd name="T12" fmla="*/ 290 w 390"/>
                  <a:gd name="T13" fmla="*/ 498 h 498"/>
                  <a:gd name="T14" fmla="*/ 240 w 390"/>
                  <a:gd name="T15" fmla="*/ 383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0" h="498">
                    <a:moveTo>
                      <a:pt x="240" y="383"/>
                    </a:moveTo>
                    <a:lnTo>
                      <a:pt x="0" y="84"/>
                    </a:lnTo>
                    <a:lnTo>
                      <a:pt x="106" y="0"/>
                    </a:lnTo>
                    <a:lnTo>
                      <a:pt x="346" y="297"/>
                    </a:lnTo>
                    <a:cubicBezTo>
                      <a:pt x="374" y="332"/>
                      <a:pt x="390" y="373"/>
                      <a:pt x="387" y="404"/>
                    </a:cubicBezTo>
                    <a:cubicBezTo>
                      <a:pt x="385" y="416"/>
                      <a:pt x="381" y="425"/>
                      <a:pt x="374" y="430"/>
                    </a:cubicBezTo>
                    <a:lnTo>
                      <a:pt x="290" y="498"/>
                    </a:lnTo>
                    <a:cubicBezTo>
                      <a:pt x="291" y="474"/>
                      <a:pt x="272" y="421"/>
                      <a:pt x="240" y="3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6" name="Freeform 262">
                <a:extLst>
                  <a:ext uri="{FF2B5EF4-FFF2-40B4-BE49-F238E27FC236}">
                    <a16:creationId xmlns:a16="http://schemas.microsoft.com/office/drawing/2014/main" id="{591CECAB-4D4D-46CF-9636-1470B6C8D6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70392" y="1946279"/>
                <a:ext cx="338138" cy="404813"/>
              </a:xfrm>
              <a:custGeom>
                <a:avLst/>
                <a:gdLst>
                  <a:gd name="T0" fmla="*/ 72 w 477"/>
                  <a:gd name="T1" fmla="*/ 123 h 567"/>
                  <a:gd name="T2" fmla="*/ 40 w 477"/>
                  <a:gd name="T3" fmla="*/ 67 h 567"/>
                  <a:gd name="T4" fmla="*/ 73 w 477"/>
                  <a:gd name="T5" fmla="*/ 48 h 567"/>
                  <a:gd name="T6" fmla="*/ 105 w 477"/>
                  <a:gd name="T7" fmla="*/ 105 h 567"/>
                  <a:gd name="T8" fmla="*/ 72 w 477"/>
                  <a:gd name="T9" fmla="*/ 123 h 567"/>
                  <a:gd name="T10" fmla="*/ 142 w 477"/>
                  <a:gd name="T11" fmla="*/ 63 h 567"/>
                  <a:gd name="T12" fmla="*/ 68 w 477"/>
                  <a:gd name="T13" fmla="*/ 6 h 567"/>
                  <a:gd name="T14" fmla="*/ 39 w 477"/>
                  <a:gd name="T15" fmla="*/ 0 h 567"/>
                  <a:gd name="T16" fmla="*/ 16 w 477"/>
                  <a:gd name="T17" fmla="*/ 7 h 567"/>
                  <a:gd name="T18" fmla="*/ 4 w 477"/>
                  <a:gd name="T19" fmla="*/ 33 h 567"/>
                  <a:gd name="T20" fmla="*/ 44 w 477"/>
                  <a:gd name="T21" fmla="*/ 140 h 567"/>
                  <a:gd name="T22" fmla="*/ 336 w 477"/>
                  <a:gd name="T23" fmla="*/ 502 h 567"/>
                  <a:gd name="T24" fmla="*/ 410 w 477"/>
                  <a:gd name="T25" fmla="*/ 559 h 567"/>
                  <a:gd name="T26" fmla="*/ 461 w 477"/>
                  <a:gd name="T27" fmla="*/ 558 h 567"/>
                  <a:gd name="T28" fmla="*/ 474 w 477"/>
                  <a:gd name="T29" fmla="*/ 531 h 567"/>
                  <a:gd name="T30" fmla="*/ 433 w 477"/>
                  <a:gd name="T31" fmla="*/ 425 h 567"/>
                  <a:gd name="T32" fmla="*/ 142 w 477"/>
                  <a:gd name="T33" fmla="*/ 63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7" h="567">
                    <a:moveTo>
                      <a:pt x="72" y="123"/>
                    </a:moveTo>
                    <a:cubicBezTo>
                      <a:pt x="54" y="113"/>
                      <a:pt x="40" y="88"/>
                      <a:pt x="40" y="67"/>
                    </a:cubicBezTo>
                    <a:cubicBezTo>
                      <a:pt x="40" y="46"/>
                      <a:pt x="55" y="38"/>
                      <a:pt x="73" y="48"/>
                    </a:cubicBezTo>
                    <a:cubicBezTo>
                      <a:pt x="91" y="59"/>
                      <a:pt x="105" y="84"/>
                      <a:pt x="105" y="105"/>
                    </a:cubicBezTo>
                    <a:cubicBezTo>
                      <a:pt x="105" y="125"/>
                      <a:pt x="90" y="134"/>
                      <a:pt x="72" y="123"/>
                    </a:cubicBezTo>
                    <a:close/>
                    <a:moveTo>
                      <a:pt x="142" y="63"/>
                    </a:moveTo>
                    <a:cubicBezTo>
                      <a:pt x="120" y="37"/>
                      <a:pt x="93" y="16"/>
                      <a:pt x="68" y="6"/>
                    </a:cubicBezTo>
                    <a:cubicBezTo>
                      <a:pt x="57" y="2"/>
                      <a:pt x="48" y="0"/>
                      <a:pt x="39" y="0"/>
                    </a:cubicBezTo>
                    <a:cubicBezTo>
                      <a:pt x="30" y="0"/>
                      <a:pt x="22" y="2"/>
                      <a:pt x="16" y="7"/>
                    </a:cubicBezTo>
                    <a:cubicBezTo>
                      <a:pt x="9" y="12"/>
                      <a:pt x="5" y="21"/>
                      <a:pt x="4" y="33"/>
                    </a:cubicBezTo>
                    <a:cubicBezTo>
                      <a:pt x="0" y="64"/>
                      <a:pt x="16" y="105"/>
                      <a:pt x="44" y="140"/>
                    </a:cubicBezTo>
                    <a:lnTo>
                      <a:pt x="336" y="502"/>
                    </a:lnTo>
                    <a:cubicBezTo>
                      <a:pt x="357" y="528"/>
                      <a:pt x="384" y="549"/>
                      <a:pt x="410" y="559"/>
                    </a:cubicBezTo>
                    <a:cubicBezTo>
                      <a:pt x="431" y="567"/>
                      <a:pt x="450" y="567"/>
                      <a:pt x="461" y="558"/>
                    </a:cubicBezTo>
                    <a:cubicBezTo>
                      <a:pt x="468" y="553"/>
                      <a:pt x="473" y="544"/>
                      <a:pt x="474" y="531"/>
                    </a:cubicBezTo>
                    <a:cubicBezTo>
                      <a:pt x="477" y="501"/>
                      <a:pt x="462" y="460"/>
                      <a:pt x="433" y="425"/>
                    </a:cubicBezTo>
                    <a:lnTo>
                      <a:pt x="142" y="63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7" name="Freeform 263">
                <a:extLst>
                  <a:ext uri="{FF2B5EF4-FFF2-40B4-BE49-F238E27FC236}">
                    <a16:creationId xmlns:a16="http://schemas.microsoft.com/office/drawing/2014/main" id="{AA14D9E9-A7EA-47E2-AE80-9BA3D8CAA6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2005" y="1758954"/>
                <a:ext cx="327025" cy="185738"/>
              </a:xfrm>
              <a:custGeom>
                <a:avLst/>
                <a:gdLst>
                  <a:gd name="T0" fmla="*/ 88 w 460"/>
                  <a:gd name="T1" fmla="*/ 110 h 261"/>
                  <a:gd name="T2" fmla="*/ 58 w 460"/>
                  <a:gd name="T3" fmla="*/ 57 h 261"/>
                  <a:gd name="T4" fmla="*/ 88 w 460"/>
                  <a:gd name="T5" fmla="*/ 39 h 261"/>
                  <a:gd name="T6" fmla="*/ 119 w 460"/>
                  <a:gd name="T7" fmla="*/ 92 h 261"/>
                  <a:gd name="T8" fmla="*/ 88 w 460"/>
                  <a:gd name="T9" fmla="*/ 110 h 261"/>
                  <a:gd name="T10" fmla="*/ 398 w 460"/>
                  <a:gd name="T11" fmla="*/ 123 h 261"/>
                  <a:gd name="T12" fmla="*/ 96 w 460"/>
                  <a:gd name="T13" fmla="*/ 5 h 261"/>
                  <a:gd name="T14" fmla="*/ 68 w 460"/>
                  <a:gd name="T15" fmla="*/ 0 h 261"/>
                  <a:gd name="T16" fmla="*/ 10 w 460"/>
                  <a:gd name="T17" fmla="*/ 43 h 261"/>
                  <a:gd name="T18" fmla="*/ 62 w 460"/>
                  <a:gd name="T19" fmla="*/ 138 h 261"/>
                  <a:gd name="T20" fmla="*/ 364 w 460"/>
                  <a:gd name="T21" fmla="*/ 256 h 261"/>
                  <a:gd name="T22" fmla="*/ 391 w 460"/>
                  <a:gd name="T23" fmla="*/ 261 h 261"/>
                  <a:gd name="T24" fmla="*/ 449 w 460"/>
                  <a:gd name="T25" fmla="*/ 219 h 261"/>
                  <a:gd name="T26" fmla="*/ 398 w 460"/>
                  <a:gd name="T27" fmla="*/ 123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60" h="261">
                    <a:moveTo>
                      <a:pt x="88" y="110"/>
                    </a:moveTo>
                    <a:cubicBezTo>
                      <a:pt x="71" y="100"/>
                      <a:pt x="57" y="76"/>
                      <a:pt x="58" y="57"/>
                    </a:cubicBezTo>
                    <a:cubicBezTo>
                      <a:pt x="58" y="37"/>
                      <a:pt x="71" y="29"/>
                      <a:pt x="88" y="39"/>
                    </a:cubicBezTo>
                    <a:cubicBezTo>
                      <a:pt x="105" y="49"/>
                      <a:pt x="119" y="73"/>
                      <a:pt x="119" y="92"/>
                    </a:cubicBezTo>
                    <a:cubicBezTo>
                      <a:pt x="119" y="112"/>
                      <a:pt x="105" y="119"/>
                      <a:pt x="88" y="110"/>
                    </a:cubicBezTo>
                    <a:close/>
                    <a:moveTo>
                      <a:pt x="398" y="123"/>
                    </a:moveTo>
                    <a:lnTo>
                      <a:pt x="96" y="5"/>
                    </a:lnTo>
                    <a:cubicBezTo>
                      <a:pt x="87" y="2"/>
                      <a:pt x="78" y="0"/>
                      <a:pt x="68" y="0"/>
                    </a:cubicBezTo>
                    <a:cubicBezTo>
                      <a:pt x="41" y="0"/>
                      <a:pt x="18" y="17"/>
                      <a:pt x="10" y="43"/>
                    </a:cubicBezTo>
                    <a:cubicBezTo>
                      <a:pt x="0" y="80"/>
                      <a:pt x="23" y="123"/>
                      <a:pt x="62" y="138"/>
                    </a:cubicBezTo>
                    <a:lnTo>
                      <a:pt x="364" y="256"/>
                    </a:lnTo>
                    <a:cubicBezTo>
                      <a:pt x="373" y="260"/>
                      <a:pt x="382" y="261"/>
                      <a:pt x="391" y="261"/>
                    </a:cubicBezTo>
                    <a:cubicBezTo>
                      <a:pt x="419" y="261"/>
                      <a:pt x="442" y="245"/>
                      <a:pt x="449" y="219"/>
                    </a:cubicBezTo>
                    <a:cubicBezTo>
                      <a:pt x="460" y="181"/>
                      <a:pt x="437" y="138"/>
                      <a:pt x="398" y="12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8" name="Freeform 264">
                <a:extLst>
                  <a:ext uri="{FF2B5EF4-FFF2-40B4-BE49-F238E27FC236}">
                    <a16:creationId xmlns:a16="http://schemas.microsoft.com/office/drawing/2014/main" id="{3140482B-6980-4E8C-9CF2-C879510FF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730" y="1606554"/>
                <a:ext cx="374650" cy="388938"/>
              </a:xfrm>
              <a:custGeom>
                <a:avLst/>
                <a:gdLst>
                  <a:gd name="T0" fmla="*/ 148 w 528"/>
                  <a:gd name="T1" fmla="*/ 218 h 546"/>
                  <a:gd name="T2" fmla="*/ 264 w 528"/>
                  <a:gd name="T3" fmla="*/ 71 h 546"/>
                  <a:gd name="T4" fmla="*/ 414 w 528"/>
                  <a:gd name="T5" fmla="*/ 111 h 546"/>
                  <a:gd name="T6" fmla="*/ 432 w 528"/>
                  <a:gd name="T7" fmla="*/ 117 h 546"/>
                  <a:gd name="T8" fmla="*/ 528 w 528"/>
                  <a:gd name="T9" fmla="*/ 154 h 546"/>
                  <a:gd name="T10" fmla="*/ 252 w 528"/>
                  <a:gd name="T11" fmla="*/ 22 h 546"/>
                  <a:gd name="T12" fmla="*/ 98 w 528"/>
                  <a:gd name="T13" fmla="*/ 211 h 546"/>
                  <a:gd name="T14" fmla="*/ 53 w 528"/>
                  <a:gd name="T15" fmla="*/ 391 h 546"/>
                  <a:gd name="T16" fmla="*/ 24 w 528"/>
                  <a:gd name="T17" fmla="*/ 414 h 546"/>
                  <a:gd name="T18" fmla="*/ 0 w 528"/>
                  <a:gd name="T19" fmla="*/ 437 h 546"/>
                  <a:gd name="T20" fmla="*/ 36 w 528"/>
                  <a:gd name="T21" fmla="*/ 445 h 546"/>
                  <a:gd name="T22" fmla="*/ 127 w 528"/>
                  <a:gd name="T23" fmla="*/ 515 h 546"/>
                  <a:gd name="T24" fmla="*/ 152 w 528"/>
                  <a:gd name="T25" fmla="*/ 546 h 546"/>
                  <a:gd name="T26" fmla="*/ 327 w 528"/>
                  <a:gd name="T27" fmla="*/ 407 h 546"/>
                  <a:gd name="T28" fmla="*/ 283 w 528"/>
                  <a:gd name="T29" fmla="*/ 390 h 546"/>
                  <a:gd name="T30" fmla="*/ 202 w 528"/>
                  <a:gd name="T31" fmla="*/ 272 h 546"/>
                  <a:gd name="T32" fmla="*/ 124 w 528"/>
                  <a:gd name="T33" fmla="*/ 334 h 546"/>
                  <a:gd name="T34" fmla="*/ 148 w 528"/>
                  <a:gd name="T35" fmla="*/ 218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8" h="546">
                    <a:moveTo>
                      <a:pt x="148" y="218"/>
                    </a:moveTo>
                    <a:cubicBezTo>
                      <a:pt x="158" y="142"/>
                      <a:pt x="203" y="85"/>
                      <a:pt x="264" y="71"/>
                    </a:cubicBezTo>
                    <a:cubicBezTo>
                      <a:pt x="312" y="59"/>
                      <a:pt x="363" y="74"/>
                      <a:pt x="414" y="111"/>
                    </a:cubicBezTo>
                    <a:cubicBezTo>
                      <a:pt x="420" y="112"/>
                      <a:pt x="426" y="114"/>
                      <a:pt x="432" y="117"/>
                    </a:cubicBezTo>
                    <a:lnTo>
                      <a:pt x="528" y="154"/>
                    </a:lnTo>
                    <a:cubicBezTo>
                      <a:pt x="443" y="48"/>
                      <a:pt x="344" y="0"/>
                      <a:pt x="252" y="22"/>
                    </a:cubicBezTo>
                    <a:cubicBezTo>
                      <a:pt x="171" y="42"/>
                      <a:pt x="112" y="114"/>
                      <a:pt x="98" y="211"/>
                    </a:cubicBezTo>
                    <a:cubicBezTo>
                      <a:pt x="89" y="273"/>
                      <a:pt x="70" y="346"/>
                      <a:pt x="53" y="391"/>
                    </a:cubicBezTo>
                    <a:lnTo>
                      <a:pt x="24" y="414"/>
                    </a:lnTo>
                    <a:cubicBezTo>
                      <a:pt x="14" y="420"/>
                      <a:pt x="7" y="428"/>
                      <a:pt x="0" y="437"/>
                    </a:cubicBezTo>
                    <a:cubicBezTo>
                      <a:pt x="12" y="438"/>
                      <a:pt x="24" y="440"/>
                      <a:pt x="36" y="445"/>
                    </a:cubicBezTo>
                    <a:cubicBezTo>
                      <a:pt x="68" y="458"/>
                      <a:pt x="101" y="483"/>
                      <a:pt x="127" y="515"/>
                    </a:cubicBezTo>
                    <a:lnTo>
                      <a:pt x="152" y="546"/>
                    </a:lnTo>
                    <a:lnTo>
                      <a:pt x="327" y="407"/>
                    </a:lnTo>
                    <a:lnTo>
                      <a:pt x="283" y="390"/>
                    </a:lnTo>
                    <a:cubicBezTo>
                      <a:pt x="234" y="370"/>
                      <a:pt x="201" y="321"/>
                      <a:pt x="202" y="272"/>
                    </a:cubicBezTo>
                    <a:lnTo>
                      <a:pt x="124" y="334"/>
                    </a:lnTo>
                    <a:cubicBezTo>
                      <a:pt x="135" y="300"/>
                      <a:pt x="143" y="254"/>
                      <a:pt x="148" y="218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09" name="Freeform 265">
                <a:extLst>
                  <a:ext uri="{FF2B5EF4-FFF2-40B4-BE49-F238E27FC236}">
                    <a16:creationId xmlns:a16="http://schemas.microsoft.com/office/drawing/2014/main" id="{17F49635-5D70-410C-BD1B-4A2A86D28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8680" y="1712916"/>
                <a:ext cx="444500" cy="193675"/>
              </a:xfrm>
              <a:custGeom>
                <a:avLst/>
                <a:gdLst>
                  <a:gd name="T0" fmla="*/ 627 w 627"/>
                  <a:gd name="T1" fmla="*/ 189 h 273"/>
                  <a:gd name="T2" fmla="*/ 508 w 627"/>
                  <a:gd name="T3" fmla="*/ 135 h 273"/>
                  <a:gd name="T4" fmla="*/ 407 w 627"/>
                  <a:gd name="T5" fmla="*/ 152 h 273"/>
                  <a:gd name="T6" fmla="*/ 362 w 627"/>
                  <a:gd name="T7" fmla="*/ 114 h 273"/>
                  <a:gd name="T8" fmla="*/ 87 w 627"/>
                  <a:gd name="T9" fmla="*/ 6 h 273"/>
                  <a:gd name="T10" fmla="*/ 55 w 627"/>
                  <a:gd name="T11" fmla="*/ 0 h 273"/>
                  <a:gd name="T12" fmla="*/ 0 w 627"/>
                  <a:gd name="T13" fmla="*/ 24 h 273"/>
                  <a:gd name="T14" fmla="*/ 38 w 627"/>
                  <a:gd name="T15" fmla="*/ 39 h 273"/>
                  <a:gd name="T16" fmla="*/ 319 w 627"/>
                  <a:gd name="T17" fmla="*/ 148 h 273"/>
                  <a:gd name="T18" fmla="*/ 399 w 627"/>
                  <a:gd name="T19" fmla="*/ 273 h 273"/>
                  <a:gd name="T20" fmla="*/ 485 w 627"/>
                  <a:gd name="T21" fmla="*/ 219 h 273"/>
                  <a:gd name="T22" fmla="*/ 584 w 627"/>
                  <a:gd name="T23" fmla="*/ 264 h 273"/>
                  <a:gd name="T24" fmla="*/ 584 w 627"/>
                  <a:gd name="T25" fmla="*/ 264 h 273"/>
                  <a:gd name="T26" fmla="*/ 606 w 627"/>
                  <a:gd name="T27" fmla="*/ 251 h 273"/>
                  <a:gd name="T28" fmla="*/ 606 w 627"/>
                  <a:gd name="T29" fmla="*/ 251 h 273"/>
                  <a:gd name="T30" fmla="*/ 627 w 627"/>
                  <a:gd name="T31" fmla="*/ 189 h 273"/>
                  <a:gd name="T32" fmla="*/ 627 w 627"/>
                  <a:gd name="T33" fmla="*/ 189 h 273"/>
                  <a:gd name="T34" fmla="*/ 627 w 627"/>
                  <a:gd name="T35" fmla="*/ 189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27" h="273">
                    <a:moveTo>
                      <a:pt x="627" y="189"/>
                    </a:moveTo>
                    <a:lnTo>
                      <a:pt x="508" y="135"/>
                    </a:lnTo>
                    <a:lnTo>
                      <a:pt x="407" y="152"/>
                    </a:lnTo>
                    <a:cubicBezTo>
                      <a:pt x="397" y="135"/>
                      <a:pt x="381" y="122"/>
                      <a:pt x="362" y="114"/>
                    </a:cubicBezTo>
                    <a:lnTo>
                      <a:pt x="87" y="6"/>
                    </a:lnTo>
                    <a:cubicBezTo>
                      <a:pt x="76" y="2"/>
                      <a:pt x="65" y="0"/>
                      <a:pt x="55" y="0"/>
                    </a:cubicBezTo>
                    <a:cubicBezTo>
                      <a:pt x="33" y="0"/>
                      <a:pt x="14" y="9"/>
                      <a:pt x="0" y="24"/>
                    </a:cubicBezTo>
                    <a:cubicBezTo>
                      <a:pt x="14" y="26"/>
                      <a:pt x="26" y="31"/>
                      <a:pt x="38" y="39"/>
                    </a:cubicBezTo>
                    <a:lnTo>
                      <a:pt x="319" y="148"/>
                    </a:lnTo>
                    <a:cubicBezTo>
                      <a:pt x="370" y="169"/>
                      <a:pt x="403" y="222"/>
                      <a:pt x="399" y="273"/>
                    </a:cubicBezTo>
                    <a:lnTo>
                      <a:pt x="485" y="219"/>
                    </a:lnTo>
                    <a:lnTo>
                      <a:pt x="584" y="264"/>
                    </a:lnTo>
                    <a:lnTo>
                      <a:pt x="584" y="264"/>
                    </a:lnTo>
                    <a:lnTo>
                      <a:pt x="606" y="251"/>
                    </a:lnTo>
                    <a:lnTo>
                      <a:pt x="606" y="251"/>
                    </a:lnTo>
                    <a:lnTo>
                      <a:pt x="627" y="189"/>
                    </a:lnTo>
                    <a:lnTo>
                      <a:pt x="627" y="189"/>
                    </a:lnTo>
                    <a:lnTo>
                      <a:pt x="627" y="189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grpSp>
          <p:nvGrpSpPr>
            <p:cNvPr id="810" name="Production_line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4761898-BC72-455B-ADC4-17A3763446AF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5782078" y="5238464"/>
              <a:ext cx="457434" cy="448698"/>
              <a:chOff x="6351588" y="2063750"/>
              <a:chExt cx="914400" cy="896938"/>
            </a:xfrm>
            <a:solidFill>
              <a:srgbClr val="4472C4"/>
            </a:solidFill>
          </p:grpSpPr>
          <p:sp>
            <p:nvSpPr>
              <p:cNvPr id="811" name="Freeform 354">
                <a:extLst>
                  <a:ext uri="{FF2B5EF4-FFF2-40B4-BE49-F238E27FC236}">
                    <a16:creationId xmlns:a16="http://schemas.microsoft.com/office/drawing/2014/main" id="{1565DA34-40B6-46A1-A70E-E4663EEBB8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51588" y="2820988"/>
                <a:ext cx="914400" cy="139700"/>
              </a:xfrm>
              <a:custGeom>
                <a:avLst/>
                <a:gdLst>
                  <a:gd name="T0" fmla="*/ 1382 w 1517"/>
                  <a:gd name="T1" fmla="*/ 167 h 233"/>
                  <a:gd name="T2" fmla="*/ 1381 w 1517"/>
                  <a:gd name="T3" fmla="*/ 167 h 233"/>
                  <a:gd name="T4" fmla="*/ 1333 w 1517"/>
                  <a:gd name="T5" fmla="*/ 117 h 233"/>
                  <a:gd name="T6" fmla="*/ 1382 w 1517"/>
                  <a:gd name="T7" fmla="*/ 67 h 233"/>
                  <a:gd name="T8" fmla="*/ 1431 w 1517"/>
                  <a:gd name="T9" fmla="*/ 117 h 233"/>
                  <a:gd name="T10" fmla="*/ 1382 w 1517"/>
                  <a:gd name="T11" fmla="*/ 167 h 233"/>
                  <a:gd name="T12" fmla="*/ 1225 w 1517"/>
                  <a:gd name="T13" fmla="*/ 167 h 233"/>
                  <a:gd name="T14" fmla="*/ 1224 w 1517"/>
                  <a:gd name="T15" fmla="*/ 167 h 233"/>
                  <a:gd name="T16" fmla="*/ 1176 w 1517"/>
                  <a:gd name="T17" fmla="*/ 117 h 233"/>
                  <a:gd name="T18" fmla="*/ 1225 w 1517"/>
                  <a:gd name="T19" fmla="*/ 67 h 233"/>
                  <a:gd name="T20" fmla="*/ 1274 w 1517"/>
                  <a:gd name="T21" fmla="*/ 117 h 233"/>
                  <a:gd name="T22" fmla="*/ 1225 w 1517"/>
                  <a:gd name="T23" fmla="*/ 167 h 233"/>
                  <a:gd name="T24" fmla="*/ 1067 w 1517"/>
                  <a:gd name="T25" fmla="*/ 167 h 233"/>
                  <a:gd name="T26" fmla="*/ 1067 w 1517"/>
                  <a:gd name="T27" fmla="*/ 167 h 233"/>
                  <a:gd name="T28" fmla="*/ 1019 w 1517"/>
                  <a:gd name="T29" fmla="*/ 117 h 233"/>
                  <a:gd name="T30" fmla="*/ 1067 w 1517"/>
                  <a:gd name="T31" fmla="*/ 67 h 233"/>
                  <a:gd name="T32" fmla="*/ 1116 w 1517"/>
                  <a:gd name="T33" fmla="*/ 117 h 233"/>
                  <a:gd name="T34" fmla="*/ 1067 w 1517"/>
                  <a:gd name="T35" fmla="*/ 167 h 233"/>
                  <a:gd name="T36" fmla="*/ 910 w 1517"/>
                  <a:gd name="T37" fmla="*/ 167 h 233"/>
                  <a:gd name="T38" fmla="*/ 910 w 1517"/>
                  <a:gd name="T39" fmla="*/ 167 h 233"/>
                  <a:gd name="T40" fmla="*/ 861 w 1517"/>
                  <a:gd name="T41" fmla="*/ 117 h 233"/>
                  <a:gd name="T42" fmla="*/ 910 w 1517"/>
                  <a:gd name="T43" fmla="*/ 67 h 233"/>
                  <a:gd name="T44" fmla="*/ 959 w 1517"/>
                  <a:gd name="T45" fmla="*/ 117 h 233"/>
                  <a:gd name="T46" fmla="*/ 910 w 1517"/>
                  <a:gd name="T47" fmla="*/ 167 h 233"/>
                  <a:gd name="T48" fmla="*/ 753 w 1517"/>
                  <a:gd name="T49" fmla="*/ 167 h 233"/>
                  <a:gd name="T50" fmla="*/ 752 w 1517"/>
                  <a:gd name="T51" fmla="*/ 167 h 233"/>
                  <a:gd name="T52" fmla="*/ 704 w 1517"/>
                  <a:gd name="T53" fmla="*/ 117 h 233"/>
                  <a:gd name="T54" fmla="*/ 753 w 1517"/>
                  <a:gd name="T55" fmla="*/ 67 h 233"/>
                  <a:gd name="T56" fmla="*/ 802 w 1517"/>
                  <a:gd name="T57" fmla="*/ 117 h 233"/>
                  <a:gd name="T58" fmla="*/ 753 w 1517"/>
                  <a:gd name="T59" fmla="*/ 167 h 233"/>
                  <a:gd name="T60" fmla="*/ 596 w 1517"/>
                  <a:gd name="T61" fmla="*/ 167 h 233"/>
                  <a:gd name="T62" fmla="*/ 595 w 1517"/>
                  <a:gd name="T63" fmla="*/ 167 h 233"/>
                  <a:gd name="T64" fmla="*/ 547 w 1517"/>
                  <a:gd name="T65" fmla="*/ 117 h 233"/>
                  <a:gd name="T66" fmla="*/ 596 w 1517"/>
                  <a:gd name="T67" fmla="*/ 67 h 233"/>
                  <a:gd name="T68" fmla="*/ 645 w 1517"/>
                  <a:gd name="T69" fmla="*/ 117 h 233"/>
                  <a:gd name="T70" fmla="*/ 596 w 1517"/>
                  <a:gd name="T71" fmla="*/ 167 h 233"/>
                  <a:gd name="T72" fmla="*/ 439 w 1517"/>
                  <a:gd name="T73" fmla="*/ 167 h 233"/>
                  <a:gd name="T74" fmla="*/ 438 w 1517"/>
                  <a:gd name="T75" fmla="*/ 167 h 233"/>
                  <a:gd name="T76" fmla="*/ 390 w 1517"/>
                  <a:gd name="T77" fmla="*/ 117 h 233"/>
                  <a:gd name="T78" fmla="*/ 439 w 1517"/>
                  <a:gd name="T79" fmla="*/ 67 h 233"/>
                  <a:gd name="T80" fmla="*/ 487 w 1517"/>
                  <a:gd name="T81" fmla="*/ 117 h 233"/>
                  <a:gd name="T82" fmla="*/ 439 w 1517"/>
                  <a:gd name="T83" fmla="*/ 167 h 233"/>
                  <a:gd name="T84" fmla="*/ 281 w 1517"/>
                  <a:gd name="T85" fmla="*/ 167 h 233"/>
                  <a:gd name="T86" fmla="*/ 281 w 1517"/>
                  <a:gd name="T87" fmla="*/ 167 h 233"/>
                  <a:gd name="T88" fmla="*/ 232 w 1517"/>
                  <a:gd name="T89" fmla="*/ 117 h 233"/>
                  <a:gd name="T90" fmla="*/ 281 w 1517"/>
                  <a:gd name="T91" fmla="*/ 67 h 233"/>
                  <a:gd name="T92" fmla="*/ 330 w 1517"/>
                  <a:gd name="T93" fmla="*/ 117 h 233"/>
                  <a:gd name="T94" fmla="*/ 281 w 1517"/>
                  <a:gd name="T95" fmla="*/ 167 h 233"/>
                  <a:gd name="T96" fmla="*/ 124 w 1517"/>
                  <a:gd name="T97" fmla="*/ 167 h 233"/>
                  <a:gd name="T98" fmla="*/ 124 w 1517"/>
                  <a:gd name="T99" fmla="*/ 167 h 233"/>
                  <a:gd name="T100" fmla="*/ 75 w 1517"/>
                  <a:gd name="T101" fmla="*/ 117 h 233"/>
                  <a:gd name="T102" fmla="*/ 124 w 1517"/>
                  <a:gd name="T103" fmla="*/ 67 h 233"/>
                  <a:gd name="T104" fmla="*/ 173 w 1517"/>
                  <a:gd name="T105" fmla="*/ 117 h 233"/>
                  <a:gd name="T106" fmla="*/ 124 w 1517"/>
                  <a:gd name="T107" fmla="*/ 167 h 233"/>
                  <a:gd name="T108" fmla="*/ 0 w 1517"/>
                  <a:gd name="T109" fmla="*/ 0 h 233"/>
                  <a:gd name="T110" fmla="*/ 0 w 1517"/>
                  <a:gd name="T111" fmla="*/ 233 h 233"/>
                  <a:gd name="T112" fmla="*/ 1517 w 1517"/>
                  <a:gd name="T113" fmla="*/ 233 h 233"/>
                  <a:gd name="T114" fmla="*/ 1517 w 1517"/>
                  <a:gd name="T115" fmla="*/ 0 h 233"/>
                  <a:gd name="T116" fmla="*/ 0 w 1517"/>
                  <a:gd name="T117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17" h="233">
                    <a:moveTo>
                      <a:pt x="1382" y="167"/>
                    </a:moveTo>
                    <a:lnTo>
                      <a:pt x="1381" y="167"/>
                    </a:lnTo>
                    <a:cubicBezTo>
                      <a:pt x="1353" y="167"/>
                      <a:pt x="1333" y="147"/>
                      <a:pt x="1333" y="117"/>
                    </a:cubicBezTo>
                    <a:cubicBezTo>
                      <a:pt x="1333" y="88"/>
                      <a:pt x="1353" y="67"/>
                      <a:pt x="1382" y="67"/>
                    </a:cubicBezTo>
                    <a:cubicBezTo>
                      <a:pt x="1411" y="67"/>
                      <a:pt x="1430" y="87"/>
                      <a:pt x="1431" y="117"/>
                    </a:cubicBezTo>
                    <a:cubicBezTo>
                      <a:pt x="1431" y="147"/>
                      <a:pt x="1411" y="167"/>
                      <a:pt x="1382" y="167"/>
                    </a:cubicBezTo>
                    <a:close/>
                    <a:moveTo>
                      <a:pt x="1225" y="167"/>
                    </a:moveTo>
                    <a:lnTo>
                      <a:pt x="1224" y="167"/>
                    </a:lnTo>
                    <a:cubicBezTo>
                      <a:pt x="1196" y="167"/>
                      <a:pt x="1176" y="147"/>
                      <a:pt x="1176" y="117"/>
                    </a:cubicBezTo>
                    <a:cubicBezTo>
                      <a:pt x="1176" y="88"/>
                      <a:pt x="1196" y="67"/>
                      <a:pt x="1225" y="67"/>
                    </a:cubicBezTo>
                    <a:cubicBezTo>
                      <a:pt x="1254" y="67"/>
                      <a:pt x="1273" y="87"/>
                      <a:pt x="1274" y="117"/>
                    </a:cubicBezTo>
                    <a:cubicBezTo>
                      <a:pt x="1274" y="147"/>
                      <a:pt x="1253" y="167"/>
                      <a:pt x="1225" y="167"/>
                    </a:cubicBezTo>
                    <a:close/>
                    <a:moveTo>
                      <a:pt x="1067" y="167"/>
                    </a:moveTo>
                    <a:lnTo>
                      <a:pt x="1067" y="167"/>
                    </a:lnTo>
                    <a:cubicBezTo>
                      <a:pt x="1038" y="167"/>
                      <a:pt x="1019" y="147"/>
                      <a:pt x="1019" y="117"/>
                    </a:cubicBezTo>
                    <a:cubicBezTo>
                      <a:pt x="1019" y="88"/>
                      <a:pt x="1039" y="67"/>
                      <a:pt x="1067" y="67"/>
                    </a:cubicBezTo>
                    <a:cubicBezTo>
                      <a:pt x="1097" y="67"/>
                      <a:pt x="1116" y="87"/>
                      <a:pt x="1116" y="117"/>
                    </a:cubicBezTo>
                    <a:cubicBezTo>
                      <a:pt x="1116" y="147"/>
                      <a:pt x="1096" y="167"/>
                      <a:pt x="1067" y="167"/>
                    </a:cubicBezTo>
                    <a:close/>
                    <a:moveTo>
                      <a:pt x="910" y="167"/>
                    </a:moveTo>
                    <a:lnTo>
                      <a:pt x="910" y="167"/>
                    </a:lnTo>
                    <a:cubicBezTo>
                      <a:pt x="881" y="167"/>
                      <a:pt x="861" y="147"/>
                      <a:pt x="861" y="117"/>
                    </a:cubicBezTo>
                    <a:cubicBezTo>
                      <a:pt x="861" y="88"/>
                      <a:pt x="881" y="67"/>
                      <a:pt x="910" y="67"/>
                    </a:cubicBezTo>
                    <a:cubicBezTo>
                      <a:pt x="939" y="67"/>
                      <a:pt x="959" y="87"/>
                      <a:pt x="959" y="117"/>
                    </a:cubicBezTo>
                    <a:cubicBezTo>
                      <a:pt x="959" y="147"/>
                      <a:pt x="939" y="167"/>
                      <a:pt x="910" y="167"/>
                    </a:cubicBezTo>
                    <a:close/>
                    <a:moveTo>
                      <a:pt x="753" y="167"/>
                    </a:moveTo>
                    <a:lnTo>
                      <a:pt x="752" y="167"/>
                    </a:lnTo>
                    <a:cubicBezTo>
                      <a:pt x="724" y="167"/>
                      <a:pt x="704" y="147"/>
                      <a:pt x="704" y="117"/>
                    </a:cubicBezTo>
                    <a:cubicBezTo>
                      <a:pt x="704" y="88"/>
                      <a:pt x="724" y="67"/>
                      <a:pt x="753" y="67"/>
                    </a:cubicBezTo>
                    <a:cubicBezTo>
                      <a:pt x="782" y="67"/>
                      <a:pt x="801" y="87"/>
                      <a:pt x="802" y="117"/>
                    </a:cubicBezTo>
                    <a:cubicBezTo>
                      <a:pt x="802" y="147"/>
                      <a:pt x="782" y="167"/>
                      <a:pt x="753" y="167"/>
                    </a:cubicBezTo>
                    <a:close/>
                    <a:moveTo>
                      <a:pt x="596" y="167"/>
                    </a:moveTo>
                    <a:lnTo>
                      <a:pt x="595" y="167"/>
                    </a:lnTo>
                    <a:cubicBezTo>
                      <a:pt x="567" y="167"/>
                      <a:pt x="547" y="147"/>
                      <a:pt x="547" y="117"/>
                    </a:cubicBezTo>
                    <a:cubicBezTo>
                      <a:pt x="547" y="88"/>
                      <a:pt x="567" y="67"/>
                      <a:pt x="596" y="67"/>
                    </a:cubicBezTo>
                    <a:cubicBezTo>
                      <a:pt x="625" y="67"/>
                      <a:pt x="644" y="87"/>
                      <a:pt x="645" y="117"/>
                    </a:cubicBezTo>
                    <a:cubicBezTo>
                      <a:pt x="645" y="147"/>
                      <a:pt x="625" y="167"/>
                      <a:pt x="596" y="167"/>
                    </a:cubicBezTo>
                    <a:close/>
                    <a:moveTo>
                      <a:pt x="439" y="167"/>
                    </a:moveTo>
                    <a:lnTo>
                      <a:pt x="438" y="167"/>
                    </a:lnTo>
                    <a:cubicBezTo>
                      <a:pt x="410" y="167"/>
                      <a:pt x="390" y="147"/>
                      <a:pt x="390" y="117"/>
                    </a:cubicBezTo>
                    <a:cubicBezTo>
                      <a:pt x="390" y="88"/>
                      <a:pt x="410" y="67"/>
                      <a:pt x="439" y="67"/>
                    </a:cubicBezTo>
                    <a:cubicBezTo>
                      <a:pt x="467" y="67"/>
                      <a:pt x="487" y="87"/>
                      <a:pt x="487" y="117"/>
                    </a:cubicBezTo>
                    <a:cubicBezTo>
                      <a:pt x="487" y="147"/>
                      <a:pt x="467" y="167"/>
                      <a:pt x="439" y="167"/>
                    </a:cubicBezTo>
                    <a:close/>
                    <a:moveTo>
                      <a:pt x="281" y="167"/>
                    </a:moveTo>
                    <a:lnTo>
                      <a:pt x="281" y="167"/>
                    </a:lnTo>
                    <a:cubicBezTo>
                      <a:pt x="252" y="167"/>
                      <a:pt x="232" y="147"/>
                      <a:pt x="232" y="117"/>
                    </a:cubicBezTo>
                    <a:cubicBezTo>
                      <a:pt x="232" y="88"/>
                      <a:pt x="253" y="67"/>
                      <a:pt x="281" y="67"/>
                    </a:cubicBezTo>
                    <a:cubicBezTo>
                      <a:pt x="310" y="67"/>
                      <a:pt x="330" y="87"/>
                      <a:pt x="330" y="117"/>
                    </a:cubicBezTo>
                    <a:cubicBezTo>
                      <a:pt x="330" y="147"/>
                      <a:pt x="310" y="167"/>
                      <a:pt x="281" y="167"/>
                    </a:cubicBezTo>
                    <a:close/>
                    <a:moveTo>
                      <a:pt x="124" y="167"/>
                    </a:moveTo>
                    <a:lnTo>
                      <a:pt x="124" y="167"/>
                    </a:lnTo>
                    <a:cubicBezTo>
                      <a:pt x="95" y="167"/>
                      <a:pt x="75" y="147"/>
                      <a:pt x="75" y="117"/>
                    </a:cubicBezTo>
                    <a:cubicBezTo>
                      <a:pt x="75" y="88"/>
                      <a:pt x="95" y="67"/>
                      <a:pt x="124" y="67"/>
                    </a:cubicBezTo>
                    <a:cubicBezTo>
                      <a:pt x="153" y="67"/>
                      <a:pt x="172" y="87"/>
                      <a:pt x="173" y="117"/>
                    </a:cubicBezTo>
                    <a:cubicBezTo>
                      <a:pt x="173" y="147"/>
                      <a:pt x="153" y="167"/>
                      <a:pt x="124" y="167"/>
                    </a:cubicBezTo>
                    <a:close/>
                    <a:moveTo>
                      <a:pt x="0" y="0"/>
                    </a:moveTo>
                    <a:lnTo>
                      <a:pt x="0" y="233"/>
                    </a:lnTo>
                    <a:lnTo>
                      <a:pt x="1517" y="233"/>
                    </a:lnTo>
                    <a:lnTo>
                      <a:pt x="1517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12" name="Rectangle 355">
                <a:extLst>
                  <a:ext uri="{FF2B5EF4-FFF2-40B4-BE49-F238E27FC236}">
                    <a16:creationId xmlns:a16="http://schemas.microsoft.com/office/drawing/2014/main" id="{1A9E75D0-83C8-4B95-B852-8FEBD51CF3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23025" y="2589213"/>
                <a:ext cx="211138" cy="2111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13" name="Rectangle 356">
                <a:extLst>
                  <a:ext uri="{FF2B5EF4-FFF2-40B4-BE49-F238E27FC236}">
                    <a16:creationId xmlns:a16="http://schemas.microsoft.com/office/drawing/2014/main" id="{7F3ECF21-53AC-4849-B2F3-0729A25833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04013" y="2589213"/>
                <a:ext cx="209550" cy="2111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14" name="Rectangle 357">
                <a:extLst>
                  <a:ext uri="{FF2B5EF4-FFF2-40B4-BE49-F238E27FC236}">
                    <a16:creationId xmlns:a16="http://schemas.microsoft.com/office/drawing/2014/main" id="{0C580338-2214-4CCE-96C8-FAA97C11E0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85000" y="2589213"/>
                <a:ext cx="211138" cy="2111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15" name="Freeform 358">
                <a:extLst>
                  <a:ext uri="{FF2B5EF4-FFF2-40B4-BE49-F238E27FC236}">
                    <a16:creationId xmlns:a16="http://schemas.microsoft.com/office/drawing/2014/main" id="{CCD7CF1D-D3C0-4CA5-A44F-651E8D0B6A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1625" y="2063750"/>
                <a:ext cx="312738" cy="473075"/>
              </a:xfrm>
              <a:custGeom>
                <a:avLst/>
                <a:gdLst>
                  <a:gd name="T0" fmla="*/ 212 w 520"/>
                  <a:gd name="T1" fmla="*/ 185 h 785"/>
                  <a:gd name="T2" fmla="*/ 308 w 520"/>
                  <a:gd name="T3" fmla="*/ 185 h 785"/>
                  <a:gd name="T4" fmla="*/ 366 w 520"/>
                  <a:gd name="T5" fmla="*/ 279 h 785"/>
                  <a:gd name="T6" fmla="*/ 260 w 520"/>
                  <a:gd name="T7" fmla="*/ 385 h 785"/>
                  <a:gd name="T8" fmla="*/ 154 w 520"/>
                  <a:gd name="T9" fmla="*/ 279 h 785"/>
                  <a:gd name="T10" fmla="*/ 24 w 520"/>
                  <a:gd name="T11" fmla="*/ 727 h 785"/>
                  <a:gd name="T12" fmla="*/ 48 w 520"/>
                  <a:gd name="T13" fmla="*/ 657 h 785"/>
                  <a:gd name="T14" fmla="*/ 122 w 520"/>
                  <a:gd name="T15" fmla="*/ 558 h 785"/>
                  <a:gd name="T16" fmla="*/ 127 w 520"/>
                  <a:gd name="T17" fmla="*/ 556 h 785"/>
                  <a:gd name="T18" fmla="*/ 128 w 520"/>
                  <a:gd name="T19" fmla="*/ 555 h 785"/>
                  <a:gd name="T20" fmla="*/ 128 w 520"/>
                  <a:gd name="T21" fmla="*/ 555 h 785"/>
                  <a:gd name="T22" fmla="*/ 134 w 520"/>
                  <a:gd name="T23" fmla="*/ 553 h 785"/>
                  <a:gd name="T24" fmla="*/ 373 w 520"/>
                  <a:gd name="T25" fmla="*/ 547 h 785"/>
                  <a:gd name="T26" fmla="*/ 394 w 520"/>
                  <a:gd name="T27" fmla="*/ 556 h 785"/>
                  <a:gd name="T28" fmla="*/ 395 w 520"/>
                  <a:gd name="T29" fmla="*/ 556 h 785"/>
                  <a:gd name="T30" fmla="*/ 394 w 520"/>
                  <a:gd name="T31" fmla="*/ 556 h 785"/>
                  <a:gd name="T32" fmla="*/ 397 w 520"/>
                  <a:gd name="T33" fmla="*/ 558 h 785"/>
                  <a:gd name="T34" fmla="*/ 411 w 520"/>
                  <a:gd name="T35" fmla="*/ 566 h 785"/>
                  <a:gd name="T36" fmla="*/ 449 w 520"/>
                  <a:gd name="T37" fmla="*/ 785 h 785"/>
                  <a:gd name="T38" fmla="*/ 516 w 520"/>
                  <a:gd name="T39" fmla="*/ 659 h 785"/>
                  <a:gd name="T40" fmla="*/ 478 w 520"/>
                  <a:gd name="T41" fmla="*/ 505 h 785"/>
                  <a:gd name="T42" fmla="*/ 461 w 520"/>
                  <a:gd name="T43" fmla="*/ 484 h 785"/>
                  <a:gd name="T44" fmla="*/ 459 w 520"/>
                  <a:gd name="T45" fmla="*/ 481 h 785"/>
                  <a:gd name="T46" fmla="*/ 459 w 520"/>
                  <a:gd name="T47" fmla="*/ 480 h 785"/>
                  <a:gd name="T48" fmla="*/ 458 w 520"/>
                  <a:gd name="T49" fmla="*/ 480 h 785"/>
                  <a:gd name="T50" fmla="*/ 417 w 520"/>
                  <a:gd name="T51" fmla="*/ 444 h 785"/>
                  <a:gd name="T52" fmla="*/ 385 w 520"/>
                  <a:gd name="T53" fmla="*/ 393 h 785"/>
                  <a:gd name="T54" fmla="*/ 323 w 520"/>
                  <a:gd name="T55" fmla="*/ 122 h 785"/>
                  <a:gd name="T56" fmla="*/ 197 w 520"/>
                  <a:gd name="T57" fmla="*/ 0 h 785"/>
                  <a:gd name="T58" fmla="*/ 91 w 520"/>
                  <a:gd name="T59" fmla="*/ 279 h 785"/>
                  <a:gd name="T60" fmla="*/ 135 w 520"/>
                  <a:gd name="T61" fmla="*/ 428 h 785"/>
                  <a:gd name="T62" fmla="*/ 74 w 520"/>
                  <a:gd name="T63" fmla="*/ 470 h 785"/>
                  <a:gd name="T64" fmla="*/ 66 w 520"/>
                  <a:gd name="T65" fmla="*/ 478 h 785"/>
                  <a:gd name="T66" fmla="*/ 65 w 520"/>
                  <a:gd name="T67" fmla="*/ 479 h 785"/>
                  <a:gd name="T68" fmla="*/ 64 w 520"/>
                  <a:gd name="T69" fmla="*/ 479 h 785"/>
                  <a:gd name="T70" fmla="*/ 59 w 520"/>
                  <a:gd name="T71" fmla="*/ 485 h 785"/>
                  <a:gd name="T72" fmla="*/ 10 w 520"/>
                  <a:gd name="T73" fmla="*/ 576 h 785"/>
                  <a:gd name="T74" fmla="*/ 24 w 520"/>
                  <a:gd name="T75" fmla="*/ 727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20" h="785">
                    <a:moveTo>
                      <a:pt x="197" y="194"/>
                    </a:moveTo>
                    <a:cubicBezTo>
                      <a:pt x="202" y="191"/>
                      <a:pt x="207" y="188"/>
                      <a:pt x="212" y="185"/>
                    </a:cubicBezTo>
                    <a:cubicBezTo>
                      <a:pt x="226" y="178"/>
                      <a:pt x="243" y="173"/>
                      <a:pt x="260" y="173"/>
                    </a:cubicBezTo>
                    <a:cubicBezTo>
                      <a:pt x="277" y="173"/>
                      <a:pt x="294" y="178"/>
                      <a:pt x="308" y="185"/>
                    </a:cubicBezTo>
                    <a:cubicBezTo>
                      <a:pt x="313" y="188"/>
                      <a:pt x="318" y="191"/>
                      <a:pt x="323" y="194"/>
                    </a:cubicBezTo>
                    <a:cubicBezTo>
                      <a:pt x="349" y="213"/>
                      <a:pt x="366" y="244"/>
                      <a:pt x="366" y="279"/>
                    </a:cubicBezTo>
                    <a:cubicBezTo>
                      <a:pt x="366" y="314"/>
                      <a:pt x="349" y="345"/>
                      <a:pt x="323" y="364"/>
                    </a:cubicBezTo>
                    <a:cubicBezTo>
                      <a:pt x="305" y="377"/>
                      <a:pt x="284" y="385"/>
                      <a:pt x="260" y="385"/>
                    </a:cubicBezTo>
                    <a:cubicBezTo>
                      <a:pt x="237" y="385"/>
                      <a:pt x="215" y="377"/>
                      <a:pt x="197" y="364"/>
                    </a:cubicBezTo>
                    <a:cubicBezTo>
                      <a:pt x="171" y="345"/>
                      <a:pt x="154" y="314"/>
                      <a:pt x="154" y="279"/>
                    </a:cubicBezTo>
                    <a:cubicBezTo>
                      <a:pt x="154" y="244"/>
                      <a:pt x="171" y="213"/>
                      <a:pt x="197" y="194"/>
                    </a:cubicBezTo>
                    <a:close/>
                    <a:moveTo>
                      <a:pt x="24" y="727"/>
                    </a:moveTo>
                    <a:cubicBezTo>
                      <a:pt x="35" y="749"/>
                      <a:pt x="50" y="768"/>
                      <a:pt x="67" y="783"/>
                    </a:cubicBezTo>
                    <a:cubicBezTo>
                      <a:pt x="44" y="743"/>
                      <a:pt x="39" y="697"/>
                      <a:pt x="48" y="657"/>
                    </a:cubicBezTo>
                    <a:cubicBezTo>
                      <a:pt x="58" y="617"/>
                      <a:pt x="82" y="584"/>
                      <a:pt x="111" y="565"/>
                    </a:cubicBezTo>
                    <a:cubicBezTo>
                      <a:pt x="115" y="563"/>
                      <a:pt x="119" y="560"/>
                      <a:pt x="122" y="558"/>
                    </a:cubicBezTo>
                    <a:cubicBezTo>
                      <a:pt x="123" y="558"/>
                      <a:pt x="124" y="558"/>
                      <a:pt x="125" y="557"/>
                    </a:cubicBezTo>
                    <a:lnTo>
                      <a:pt x="127" y="556"/>
                    </a:lnTo>
                    <a:lnTo>
                      <a:pt x="128" y="555"/>
                    </a:lnTo>
                    <a:lnTo>
                      <a:pt x="128" y="555"/>
                    </a:lnTo>
                    <a:cubicBezTo>
                      <a:pt x="128" y="555"/>
                      <a:pt x="127" y="556"/>
                      <a:pt x="128" y="555"/>
                    </a:cubicBezTo>
                    <a:lnTo>
                      <a:pt x="128" y="555"/>
                    </a:lnTo>
                    <a:lnTo>
                      <a:pt x="128" y="555"/>
                    </a:lnTo>
                    <a:cubicBezTo>
                      <a:pt x="130" y="554"/>
                      <a:pt x="132" y="553"/>
                      <a:pt x="134" y="553"/>
                    </a:cubicBezTo>
                    <a:cubicBezTo>
                      <a:pt x="139" y="550"/>
                      <a:pt x="144" y="549"/>
                      <a:pt x="149" y="547"/>
                    </a:cubicBezTo>
                    <a:lnTo>
                      <a:pt x="373" y="547"/>
                    </a:lnTo>
                    <a:cubicBezTo>
                      <a:pt x="378" y="549"/>
                      <a:pt x="383" y="551"/>
                      <a:pt x="388" y="553"/>
                    </a:cubicBezTo>
                    <a:cubicBezTo>
                      <a:pt x="390" y="554"/>
                      <a:pt x="392" y="555"/>
                      <a:pt x="394" y="556"/>
                    </a:cubicBezTo>
                    <a:lnTo>
                      <a:pt x="394" y="556"/>
                    </a:lnTo>
                    <a:lnTo>
                      <a:pt x="395" y="556"/>
                    </a:lnTo>
                    <a:cubicBezTo>
                      <a:pt x="395" y="556"/>
                      <a:pt x="394" y="555"/>
                      <a:pt x="394" y="556"/>
                    </a:cubicBezTo>
                    <a:lnTo>
                      <a:pt x="394" y="556"/>
                    </a:lnTo>
                    <a:lnTo>
                      <a:pt x="395" y="556"/>
                    </a:lnTo>
                    <a:lnTo>
                      <a:pt x="397" y="558"/>
                    </a:lnTo>
                    <a:cubicBezTo>
                      <a:pt x="399" y="558"/>
                      <a:pt x="399" y="559"/>
                      <a:pt x="400" y="559"/>
                    </a:cubicBezTo>
                    <a:cubicBezTo>
                      <a:pt x="403" y="561"/>
                      <a:pt x="407" y="564"/>
                      <a:pt x="411" y="566"/>
                    </a:cubicBezTo>
                    <a:cubicBezTo>
                      <a:pt x="440" y="586"/>
                      <a:pt x="463" y="620"/>
                      <a:pt x="471" y="660"/>
                    </a:cubicBezTo>
                    <a:cubicBezTo>
                      <a:pt x="479" y="700"/>
                      <a:pt x="473" y="746"/>
                      <a:pt x="449" y="785"/>
                    </a:cubicBezTo>
                    <a:cubicBezTo>
                      <a:pt x="466" y="770"/>
                      <a:pt x="482" y="752"/>
                      <a:pt x="493" y="730"/>
                    </a:cubicBezTo>
                    <a:cubicBezTo>
                      <a:pt x="505" y="709"/>
                      <a:pt x="513" y="685"/>
                      <a:pt x="516" y="659"/>
                    </a:cubicBezTo>
                    <a:cubicBezTo>
                      <a:pt x="520" y="634"/>
                      <a:pt x="518" y="607"/>
                      <a:pt x="512" y="580"/>
                    </a:cubicBezTo>
                    <a:cubicBezTo>
                      <a:pt x="506" y="554"/>
                      <a:pt x="494" y="528"/>
                      <a:pt x="478" y="505"/>
                    </a:cubicBezTo>
                    <a:cubicBezTo>
                      <a:pt x="474" y="499"/>
                      <a:pt x="470" y="494"/>
                      <a:pt x="465" y="488"/>
                    </a:cubicBezTo>
                    <a:lnTo>
                      <a:pt x="461" y="484"/>
                    </a:lnTo>
                    <a:lnTo>
                      <a:pt x="460" y="482"/>
                    </a:lnTo>
                    <a:lnTo>
                      <a:pt x="459" y="481"/>
                    </a:lnTo>
                    <a:lnTo>
                      <a:pt x="459" y="481"/>
                    </a:lnTo>
                    <a:cubicBezTo>
                      <a:pt x="460" y="481"/>
                      <a:pt x="459" y="480"/>
                      <a:pt x="459" y="480"/>
                    </a:cubicBezTo>
                    <a:lnTo>
                      <a:pt x="458" y="480"/>
                    </a:lnTo>
                    <a:lnTo>
                      <a:pt x="458" y="480"/>
                    </a:lnTo>
                    <a:cubicBezTo>
                      <a:pt x="456" y="477"/>
                      <a:pt x="453" y="474"/>
                      <a:pt x="450" y="472"/>
                    </a:cubicBezTo>
                    <a:cubicBezTo>
                      <a:pt x="440" y="462"/>
                      <a:pt x="429" y="452"/>
                      <a:pt x="417" y="444"/>
                    </a:cubicBezTo>
                    <a:cubicBezTo>
                      <a:pt x="407" y="437"/>
                      <a:pt x="396" y="431"/>
                      <a:pt x="385" y="426"/>
                    </a:cubicBezTo>
                    <a:lnTo>
                      <a:pt x="385" y="393"/>
                    </a:lnTo>
                    <a:cubicBezTo>
                      <a:pt x="413" y="363"/>
                      <a:pt x="429" y="323"/>
                      <a:pt x="429" y="279"/>
                    </a:cubicBezTo>
                    <a:cubicBezTo>
                      <a:pt x="429" y="208"/>
                      <a:pt x="385" y="147"/>
                      <a:pt x="323" y="122"/>
                    </a:cubicBezTo>
                    <a:lnTo>
                      <a:pt x="323" y="0"/>
                    </a:lnTo>
                    <a:lnTo>
                      <a:pt x="197" y="0"/>
                    </a:lnTo>
                    <a:lnTo>
                      <a:pt x="197" y="122"/>
                    </a:lnTo>
                    <a:cubicBezTo>
                      <a:pt x="135" y="147"/>
                      <a:pt x="91" y="208"/>
                      <a:pt x="91" y="279"/>
                    </a:cubicBezTo>
                    <a:cubicBezTo>
                      <a:pt x="91" y="323"/>
                      <a:pt x="108" y="363"/>
                      <a:pt x="135" y="393"/>
                    </a:cubicBezTo>
                    <a:lnTo>
                      <a:pt x="135" y="428"/>
                    </a:lnTo>
                    <a:cubicBezTo>
                      <a:pt x="126" y="433"/>
                      <a:pt x="117" y="437"/>
                      <a:pt x="109" y="443"/>
                    </a:cubicBezTo>
                    <a:cubicBezTo>
                      <a:pt x="96" y="451"/>
                      <a:pt x="85" y="460"/>
                      <a:pt x="74" y="470"/>
                    </a:cubicBezTo>
                    <a:cubicBezTo>
                      <a:pt x="72" y="472"/>
                      <a:pt x="69" y="475"/>
                      <a:pt x="66" y="477"/>
                    </a:cubicBezTo>
                    <a:lnTo>
                      <a:pt x="66" y="478"/>
                    </a:lnTo>
                    <a:lnTo>
                      <a:pt x="66" y="478"/>
                    </a:lnTo>
                    <a:cubicBezTo>
                      <a:pt x="66" y="478"/>
                      <a:pt x="65" y="479"/>
                      <a:pt x="65" y="479"/>
                    </a:cubicBezTo>
                    <a:lnTo>
                      <a:pt x="65" y="479"/>
                    </a:lnTo>
                    <a:lnTo>
                      <a:pt x="64" y="479"/>
                    </a:lnTo>
                    <a:lnTo>
                      <a:pt x="63" y="481"/>
                    </a:lnTo>
                    <a:lnTo>
                      <a:pt x="59" y="485"/>
                    </a:lnTo>
                    <a:cubicBezTo>
                      <a:pt x="54" y="491"/>
                      <a:pt x="50" y="496"/>
                      <a:pt x="46" y="502"/>
                    </a:cubicBezTo>
                    <a:cubicBezTo>
                      <a:pt x="29" y="525"/>
                      <a:pt x="17" y="550"/>
                      <a:pt x="10" y="576"/>
                    </a:cubicBezTo>
                    <a:cubicBezTo>
                      <a:pt x="3" y="603"/>
                      <a:pt x="0" y="629"/>
                      <a:pt x="3" y="655"/>
                    </a:cubicBezTo>
                    <a:cubicBezTo>
                      <a:pt x="6" y="681"/>
                      <a:pt x="13" y="705"/>
                      <a:pt x="24" y="7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816" name="Freeform 359">
                <a:extLst>
                  <a:ext uri="{FF2B5EF4-FFF2-40B4-BE49-F238E27FC236}">
                    <a16:creationId xmlns:a16="http://schemas.microsoft.com/office/drawing/2014/main" id="{D17A8CA1-BEFD-4E91-BD97-E159FC40B1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64338" y="2187575"/>
                <a:ext cx="85725" cy="87313"/>
              </a:xfrm>
              <a:custGeom>
                <a:avLst/>
                <a:gdLst>
                  <a:gd name="T0" fmla="*/ 72 w 144"/>
                  <a:gd name="T1" fmla="*/ 36 h 144"/>
                  <a:gd name="T2" fmla="*/ 108 w 144"/>
                  <a:gd name="T3" fmla="*/ 72 h 144"/>
                  <a:gd name="T4" fmla="*/ 72 w 144"/>
                  <a:gd name="T5" fmla="*/ 108 h 144"/>
                  <a:gd name="T6" fmla="*/ 36 w 144"/>
                  <a:gd name="T7" fmla="*/ 72 h 144"/>
                  <a:gd name="T8" fmla="*/ 72 w 144"/>
                  <a:gd name="T9" fmla="*/ 36 h 144"/>
                  <a:gd name="T10" fmla="*/ 72 w 144"/>
                  <a:gd name="T11" fmla="*/ 144 h 144"/>
                  <a:gd name="T12" fmla="*/ 135 w 144"/>
                  <a:gd name="T13" fmla="*/ 108 h 144"/>
                  <a:gd name="T14" fmla="*/ 144 w 144"/>
                  <a:gd name="T15" fmla="*/ 72 h 144"/>
                  <a:gd name="T16" fmla="*/ 135 w 144"/>
                  <a:gd name="T17" fmla="*/ 37 h 144"/>
                  <a:gd name="T18" fmla="*/ 72 w 144"/>
                  <a:gd name="T19" fmla="*/ 0 h 144"/>
                  <a:gd name="T20" fmla="*/ 9 w 144"/>
                  <a:gd name="T21" fmla="*/ 37 h 144"/>
                  <a:gd name="T22" fmla="*/ 0 w 144"/>
                  <a:gd name="T23" fmla="*/ 72 h 144"/>
                  <a:gd name="T24" fmla="*/ 9 w 144"/>
                  <a:gd name="T25" fmla="*/ 108 h 144"/>
                  <a:gd name="T26" fmla="*/ 72 w 144"/>
                  <a:gd name="T27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4" h="144">
                    <a:moveTo>
                      <a:pt x="72" y="36"/>
                    </a:moveTo>
                    <a:cubicBezTo>
                      <a:pt x="92" y="36"/>
                      <a:pt x="108" y="52"/>
                      <a:pt x="108" y="72"/>
                    </a:cubicBezTo>
                    <a:cubicBezTo>
                      <a:pt x="108" y="92"/>
                      <a:pt x="92" y="108"/>
                      <a:pt x="72" y="108"/>
                    </a:cubicBezTo>
                    <a:cubicBezTo>
                      <a:pt x="52" y="108"/>
                      <a:pt x="36" y="92"/>
                      <a:pt x="36" y="72"/>
                    </a:cubicBezTo>
                    <a:cubicBezTo>
                      <a:pt x="36" y="52"/>
                      <a:pt x="52" y="36"/>
                      <a:pt x="72" y="36"/>
                    </a:cubicBezTo>
                    <a:close/>
                    <a:moveTo>
                      <a:pt x="72" y="144"/>
                    </a:moveTo>
                    <a:cubicBezTo>
                      <a:pt x="99" y="144"/>
                      <a:pt x="122" y="129"/>
                      <a:pt x="135" y="108"/>
                    </a:cubicBezTo>
                    <a:cubicBezTo>
                      <a:pt x="141" y="97"/>
                      <a:pt x="144" y="85"/>
                      <a:pt x="144" y="72"/>
                    </a:cubicBezTo>
                    <a:cubicBezTo>
                      <a:pt x="144" y="59"/>
                      <a:pt x="141" y="47"/>
                      <a:pt x="135" y="37"/>
                    </a:cubicBezTo>
                    <a:cubicBezTo>
                      <a:pt x="122" y="15"/>
                      <a:pt x="99" y="0"/>
                      <a:pt x="72" y="0"/>
                    </a:cubicBezTo>
                    <a:cubicBezTo>
                      <a:pt x="45" y="0"/>
                      <a:pt x="22" y="15"/>
                      <a:pt x="9" y="37"/>
                    </a:cubicBezTo>
                    <a:cubicBezTo>
                      <a:pt x="3" y="47"/>
                      <a:pt x="0" y="59"/>
                      <a:pt x="0" y="72"/>
                    </a:cubicBezTo>
                    <a:cubicBezTo>
                      <a:pt x="0" y="85"/>
                      <a:pt x="3" y="97"/>
                      <a:pt x="9" y="108"/>
                    </a:cubicBezTo>
                    <a:cubicBezTo>
                      <a:pt x="22" y="129"/>
                      <a:pt x="45" y="144"/>
                      <a:pt x="72" y="1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</p:grpSp>
      <p:sp>
        <p:nvSpPr>
          <p:cNvPr id="818" name="TextBox 817">
            <a:extLst>
              <a:ext uri="{FF2B5EF4-FFF2-40B4-BE49-F238E27FC236}">
                <a16:creationId xmlns:a16="http://schemas.microsoft.com/office/drawing/2014/main" id="{90A2C62B-D8AC-40A7-AF3F-CC4E79374907}"/>
              </a:ext>
            </a:extLst>
          </p:cNvPr>
          <p:cNvSpPr txBox="1"/>
          <p:nvPr/>
        </p:nvSpPr>
        <p:spPr>
          <a:xfrm>
            <a:off x="2944630" y="438711"/>
            <a:ext cx="998177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3200" b="1" dirty="0">
                <a:solidFill>
                  <a:srgbClr val="00B0F0"/>
                </a:solidFill>
              </a:rPr>
              <a:t>Advanced Software Development</a:t>
            </a:r>
            <a:endParaRPr lang="he-IL" sz="3200" b="1" dirty="0">
              <a:solidFill>
                <a:srgbClr val="00B0F0"/>
              </a:solidFill>
            </a:endParaRPr>
          </a:p>
        </p:txBody>
      </p:sp>
      <p:sp>
        <p:nvSpPr>
          <p:cNvPr id="822" name="TextBox 821">
            <a:extLst>
              <a:ext uri="{FF2B5EF4-FFF2-40B4-BE49-F238E27FC236}">
                <a16:creationId xmlns:a16="http://schemas.microsoft.com/office/drawing/2014/main" id="{AB0C149F-2345-411A-8022-194D85971049}"/>
              </a:ext>
            </a:extLst>
          </p:cNvPr>
          <p:cNvSpPr txBox="1"/>
          <p:nvPr/>
        </p:nvSpPr>
        <p:spPr>
          <a:xfrm>
            <a:off x="3146128" y="1245436"/>
            <a:ext cx="998177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800" b="1" dirty="0"/>
              <a:t>Flight Gear Simulator Project</a:t>
            </a:r>
            <a:endParaRPr lang="he-IL" sz="2800" b="1" dirty="0"/>
          </a:p>
        </p:txBody>
      </p:sp>
      <p:sp>
        <p:nvSpPr>
          <p:cNvPr id="823" name="TextBox 822">
            <a:extLst>
              <a:ext uri="{FF2B5EF4-FFF2-40B4-BE49-F238E27FC236}">
                <a16:creationId xmlns:a16="http://schemas.microsoft.com/office/drawing/2014/main" id="{9D5F8FF3-53C5-47CC-90A1-D47C603A710C}"/>
              </a:ext>
            </a:extLst>
          </p:cNvPr>
          <p:cNvSpPr txBox="1"/>
          <p:nvPr/>
        </p:nvSpPr>
        <p:spPr>
          <a:xfrm>
            <a:off x="4922650" y="5973819"/>
            <a:ext cx="7269350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000" b="1" dirty="0"/>
              <a:t>Lecturer: Dr. Eliyahu </a:t>
            </a:r>
            <a:r>
              <a:rPr lang="en-US" sz="2000" b="1" dirty="0" err="1"/>
              <a:t>Khalastchi</a:t>
            </a:r>
            <a:endParaRPr lang="en-US" sz="2000" b="1" dirty="0"/>
          </a:p>
          <a:p>
            <a:r>
              <a:rPr lang="en-US" sz="2000" b="1" dirty="0"/>
              <a:t>Presented by: Yossi Ashkenazi &amp; Omer Kappon</a:t>
            </a:r>
          </a:p>
        </p:txBody>
      </p:sp>
      <p:pic>
        <p:nvPicPr>
          <p:cNvPr id="2050" name="Picture 2" descr="אין תיאור זמין לתמונה.">
            <a:extLst>
              <a:ext uri="{FF2B5EF4-FFF2-40B4-BE49-F238E27FC236}">
                <a16:creationId xmlns:a16="http://schemas.microsoft.com/office/drawing/2014/main" id="{9B81B8D3-2E6D-4A57-9821-6F6A0A957C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490" y="5798741"/>
            <a:ext cx="1085924" cy="1085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3043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B5514-848E-4151-93B8-428DB7020B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488A65-0DC4-4D19-A6E3-5C4A23460F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e-IL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7DBDBCBF-D5EE-46D9-969F-F695304FB0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/>
          <a:stretch/>
        </p:blipFill>
        <p:spPr bwMode="auto">
          <a:xfrm>
            <a:off x="0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9E6D3212-635E-4D4E-AB12-047395D20534}"/>
              </a:ext>
            </a:extLst>
          </p:cNvPr>
          <p:cNvSpPr txBox="1"/>
          <p:nvPr/>
        </p:nvSpPr>
        <p:spPr>
          <a:xfrm>
            <a:off x="6682152" y="2966170"/>
            <a:ext cx="550984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2000" dirty="0">
                <a:solidFill>
                  <a:prstClr val="white"/>
                </a:solidFill>
                <a:latin typeface="Calibri"/>
              </a:rPr>
              <a:t> This project is about creating a user interface to </a:t>
            </a:r>
            <a:r>
              <a:rPr lang="en-US" sz="2000" dirty="0">
                <a:solidFill>
                  <a:srgbClr val="FFC000"/>
                </a:solidFill>
                <a:latin typeface="Calibri"/>
              </a:rPr>
              <a:t>Flight Simulator desktop application</a:t>
            </a:r>
            <a:r>
              <a:rPr lang="en-US" sz="2000" dirty="0">
                <a:solidFill>
                  <a:prstClr val="white"/>
                </a:solidFill>
                <a:latin typeface="Calibri"/>
              </a:rPr>
              <a:t>, based on a known flight simulator</a:t>
            </a:r>
          </a:p>
          <a:p>
            <a:pPr defTabSz="914400">
              <a:defRPr/>
            </a:pPr>
            <a:endParaRPr lang="en-US" sz="2000" dirty="0">
              <a:solidFill>
                <a:prstClr val="white"/>
              </a:solidFill>
              <a:latin typeface="Calibri"/>
            </a:endParaRPr>
          </a:p>
          <a:p>
            <a:pPr defTabSz="914400">
              <a:defRPr/>
            </a:pPr>
            <a:r>
              <a:rPr lang="en-US" sz="2000" dirty="0">
                <a:solidFill>
                  <a:prstClr val="white"/>
                </a:solidFill>
                <a:latin typeface="Calibri"/>
              </a:rPr>
              <a:t>The project is written in Java and implements </a:t>
            </a:r>
            <a:r>
              <a:rPr lang="en-US" sz="2000" dirty="0">
                <a:solidFill>
                  <a:srgbClr val="FFC000"/>
                </a:solidFill>
                <a:latin typeface="Calibri"/>
              </a:rPr>
              <a:t>design patterns</a:t>
            </a:r>
            <a:r>
              <a:rPr lang="en-US" sz="2000" dirty="0">
                <a:solidFill>
                  <a:prstClr val="white"/>
                </a:solidFill>
                <a:latin typeface="Calibri"/>
              </a:rPr>
              <a:t>, as well as </a:t>
            </a:r>
            <a:r>
              <a:rPr lang="en-US" sz="2000" dirty="0">
                <a:solidFill>
                  <a:srgbClr val="FFC000"/>
                </a:solidFill>
                <a:latin typeface="Calibri"/>
              </a:rPr>
              <a:t>SOLID</a:t>
            </a:r>
            <a:r>
              <a:rPr lang="en-US" sz="2000" dirty="0">
                <a:solidFill>
                  <a:prstClr val="white"/>
                </a:solidFill>
                <a:latin typeface="Calibri"/>
              </a:rPr>
              <a:t> and </a:t>
            </a:r>
            <a:r>
              <a:rPr lang="en-US" sz="2000" dirty="0">
                <a:solidFill>
                  <a:srgbClr val="FFC000"/>
                </a:solidFill>
                <a:latin typeface="Calibri"/>
              </a:rPr>
              <a:t>GRASP</a:t>
            </a:r>
            <a:r>
              <a:rPr lang="en-US" sz="2000" dirty="0">
                <a:solidFill>
                  <a:prstClr val="white"/>
                </a:solidFill>
                <a:latin typeface="Calibri"/>
              </a:rPr>
              <a:t> programming principl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C9CBF0B-9B5D-4A7F-99BA-50548375EE6A}"/>
              </a:ext>
            </a:extLst>
          </p:cNvPr>
          <p:cNvSpPr txBox="1"/>
          <p:nvPr/>
        </p:nvSpPr>
        <p:spPr>
          <a:xfrm>
            <a:off x="6295295" y="523874"/>
            <a:ext cx="550984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Introduction</a:t>
            </a:r>
            <a:endParaRPr lang="he-IL" sz="4000" b="1" dirty="0">
              <a:solidFill>
                <a:schemeClr val="tx1">
                  <a:lumMod val="95000"/>
                </a:schemeClr>
              </a:solidFill>
            </a:endParaRPr>
          </a:p>
        </p:txBody>
      </p:sp>
      <p:cxnSp>
        <p:nvCxnSpPr>
          <p:cNvPr id="43" name="Google Shape;1057;p35">
            <a:extLst>
              <a:ext uri="{FF2B5EF4-FFF2-40B4-BE49-F238E27FC236}">
                <a16:creationId xmlns:a16="http://schemas.microsoft.com/office/drawing/2014/main" id="{BA1FC8D9-EED4-4D57-9C5E-8FEC21BEFDE1}"/>
              </a:ext>
            </a:extLst>
          </p:cNvPr>
          <p:cNvCxnSpPr>
            <a:cxnSpLocks/>
          </p:cNvCxnSpPr>
          <p:nvPr/>
        </p:nvCxnSpPr>
        <p:spPr>
          <a:xfrm>
            <a:off x="7573107" y="1214357"/>
            <a:ext cx="4349262" cy="0"/>
          </a:xfrm>
          <a:prstGeom prst="straightConnector1">
            <a:avLst/>
          </a:prstGeom>
          <a:ln w="38100">
            <a:solidFill>
              <a:schemeClr val="tx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4473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TextBox 138">
            <a:extLst>
              <a:ext uri="{FF2B5EF4-FFF2-40B4-BE49-F238E27FC236}">
                <a16:creationId xmlns:a16="http://schemas.microsoft.com/office/drawing/2014/main" id="{62E1DE0C-2F31-46A0-9160-F02620DDB8FE}"/>
              </a:ext>
            </a:extLst>
          </p:cNvPr>
          <p:cNvSpPr txBox="1"/>
          <p:nvPr/>
        </p:nvSpPr>
        <p:spPr>
          <a:xfrm>
            <a:off x="6295295" y="523874"/>
            <a:ext cx="550984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Project Milestones</a:t>
            </a:r>
            <a:endParaRPr lang="he-IL" sz="4000" b="1" dirty="0">
              <a:solidFill>
                <a:schemeClr val="tx1">
                  <a:lumMod val="95000"/>
                </a:schemeClr>
              </a:solidFill>
            </a:endParaRPr>
          </a:p>
        </p:txBody>
      </p:sp>
      <p:cxnSp>
        <p:nvCxnSpPr>
          <p:cNvPr id="140" name="Google Shape;1057;p35">
            <a:extLst>
              <a:ext uri="{FF2B5EF4-FFF2-40B4-BE49-F238E27FC236}">
                <a16:creationId xmlns:a16="http://schemas.microsoft.com/office/drawing/2014/main" id="{DBFEABDB-1F0F-4C93-982E-A9BF2C17D0A7}"/>
              </a:ext>
            </a:extLst>
          </p:cNvPr>
          <p:cNvCxnSpPr>
            <a:cxnSpLocks/>
          </p:cNvCxnSpPr>
          <p:nvPr/>
        </p:nvCxnSpPr>
        <p:spPr>
          <a:xfrm>
            <a:off x="6858000" y="1214357"/>
            <a:ext cx="5064369" cy="0"/>
          </a:xfrm>
          <a:prstGeom prst="straightConnector1">
            <a:avLst/>
          </a:prstGeom>
          <a:ln w="38100">
            <a:solidFill>
              <a:schemeClr val="tx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2FCDD1D5-F697-4A40-A1E3-C63B403A63F0}"/>
              </a:ext>
            </a:extLst>
          </p:cNvPr>
          <p:cNvCxnSpPr>
            <a:stCxn id="144" idx="6"/>
            <a:endCxn id="156" idx="6"/>
          </p:cNvCxnSpPr>
          <p:nvPr/>
        </p:nvCxnSpPr>
        <p:spPr>
          <a:xfrm flipV="1">
            <a:off x="1957379" y="2413588"/>
            <a:ext cx="9108515" cy="4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dash"/>
            <a:miter lim="800000"/>
          </a:ln>
          <a:effectLst/>
        </p:spPr>
      </p:cxn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2C609B4B-DFA8-41F2-91C7-178425B715E2}"/>
              </a:ext>
            </a:extLst>
          </p:cNvPr>
          <p:cNvGrpSpPr/>
          <p:nvPr/>
        </p:nvGrpSpPr>
        <p:grpSpPr>
          <a:xfrm>
            <a:off x="1126106" y="1997955"/>
            <a:ext cx="831273" cy="831273"/>
            <a:chOff x="626355" y="1997955"/>
            <a:chExt cx="831273" cy="831273"/>
          </a:xfrm>
        </p:grpSpPr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E7B33581-1CA6-4842-8AD3-8A47CA5A51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AF6C08A9-052F-4BFB-B7DA-0F1271BCC1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9FA9C0B0-4091-453B-8976-D03BA49DCD88}"/>
              </a:ext>
            </a:extLst>
          </p:cNvPr>
          <p:cNvGrpSpPr/>
          <p:nvPr/>
        </p:nvGrpSpPr>
        <p:grpSpPr>
          <a:xfrm>
            <a:off x="3403235" y="1997954"/>
            <a:ext cx="831273" cy="831273"/>
            <a:chOff x="626355" y="1997955"/>
            <a:chExt cx="831273" cy="831273"/>
          </a:xfrm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84E172C2-8DF3-45EF-8663-32A9ED21DE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8AEAE21-8023-4836-B78C-91B5B21F3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E8C0919E-5C35-4DEA-A5B6-2CBFB9C54414}"/>
              </a:ext>
            </a:extLst>
          </p:cNvPr>
          <p:cNvGrpSpPr/>
          <p:nvPr/>
        </p:nvGrpSpPr>
        <p:grpSpPr>
          <a:xfrm>
            <a:off x="7957493" y="1997952"/>
            <a:ext cx="831273" cy="831273"/>
            <a:chOff x="626355" y="1997955"/>
            <a:chExt cx="831273" cy="831273"/>
          </a:xfrm>
        </p:grpSpPr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EF550B18-5E60-496B-9312-E7D3F89806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24FEAEB4-F329-44A2-B192-193CA2BE22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A81BE051-AD10-4648-AC0B-EFA173AB895D}"/>
              </a:ext>
            </a:extLst>
          </p:cNvPr>
          <p:cNvGrpSpPr/>
          <p:nvPr/>
        </p:nvGrpSpPr>
        <p:grpSpPr>
          <a:xfrm>
            <a:off x="10234621" y="1997951"/>
            <a:ext cx="831273" cy="831273"/>
            <a:chOff x="626355" y="1997955"/>
            <a:chExt cx="831273" cy="831273"/>
          </a:xfrm>
        </p:grpSpPr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D2A2F48D-DBFF-4D6C-A4D6-0A4F88315F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98A97949-D2D8-44BF-9F55-1D149F100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EE2D2DE0-5D63-443C-8D91-5E029640F289}"/>
              </a:ext>
            </a:extLst>
          </p:cNvPr>
          <p:cNvSpPr txBox="1"/>
          <p:nvPr/>
        </p:nvSpPr>
        <p:spPr>
          <a:xfrm>
            <a:off x="466639" y="3062142"/>
            <a:ext cx="215020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General design of server side’s architecture using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GRASP</a:t>
            </a: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 and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SOLID</a:t>
            </a: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 principle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A95CF702-B72E-449A-9B80-8C272BCA89B2}"/>
              </a:ext>
            </a:extLst>
          </p:cNvPr>
          <p:cNvSpPr txBox="1"/>
          <p:nvPr/>
        </p:nvSpPr>
        <p:spPr>
          <a:xfrm>
            <a:off x="2743768" y="3062142"/>
            <a:ext cx="21502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Simple server solver using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cache manager</a:t>
            </a: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 and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file streaming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2936E7FB-C047-4DC3-A643-64B7A3C74724}"/>
              </a:ext>
            </a:extLst>
          </p:cNvPr>
          <p:cNvSpPr txBox="1"/>
          <p:nvPr/>
        </p:nvSpPr>
        <p:spPr>
          <a:xfrm>
            <a:off x="5020897" y="3062142"/>
            <a:ext cx="21502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Implementation of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BFS</a:t>
            </a: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 and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A-Star</a:t>
            </a: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 algorithms in the solver server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33EE6F88-E3DA-4594-AC6D-98414DF13C8B}"/>
              </a:ext>
            </a:extLst>
          </p:cNvPr>
          <p:cNvSpPr txBox="1"/>
          <p:nvPr/>
        </p:nvSpPr>
        <p:spPr>
          <a:xfrm>
            <a:off x="7298026" y="3062142"/>
            <a:ext cx="21502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Custom language interpreter using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lexical analysis </a:t>
            </a: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and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syntax analysis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EF62BE06-CAEC-4472-8AE4-63654AFC41F7}"/>
              </a:ext>
            </a:extLst>
          </p:cNvPr>
          <p:cNvSpPr txBox="1"/>
          <p:nvPr/>
        </p:nvSpPr>
        <p:spPr>
          <a:xfrm>
            <a:off x="9575155" y="3062142"/>
            <a:ext cx="215020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Designing and building a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graphic user interface </a:t>
            </a: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(GUI) to the simulator using </a:t>
            </a:r>
            <a:r>
              <a:rPr lang="en-US" b="1" dirty="0">
                <a:solidFill>
                  <a:srgbClr val="92D050"/>
                </a:solidFill>
                <a:latin typeface="Calibri"/>
              </a:rPr>
              <a:t>JavaFX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48A3BCA4-A987-45A9-87E5-8145123C1E58}"/>
              </a:ext>
            </a:extLst>
          </p:cNvPr>
          <p:cNvGrpSpPr/>
          <p:nvPr/>
        </p:nvGrpSpPr>
        <p:grpSpPr>
          <a:xfrm>
            <a:off x="5680363" y="1997951"/>
            <a:ext cx="831273" cy="831273"/>
            <a:chOff x="626355" y="1997955"/>
            <a:chExt cx="831273" cy="831273"/>
          </a:xfrm>
        </p:grpSpPr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95754BE6-537C-46E2-BFB7-347EA3DCC9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rgbClr val="4472C4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828E54EC-73B4-4C77-9121-07E1852536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9015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5D49D38-08C5-401F-8E1E-E67F348B1346}"/>
              </a:ext>
            </a:extLst>
          </p:cNvPr>
          <p:cNvSpPr txBox="1"/>
          <p:nvPr/>
        </p:nvSpPr>
        <p:spPr>
          <a:xfrm>
            <a:off x="6295295" y="523874"/>
            <a:ext cx="550984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Server Side</a:t>
            </a:r>
            <a:endParaRPr lang="he-IL" sz="4000" b="1" dirty="0">
              <a:solidFill>
                <a:schemeClr val="tx1">
                  <a:lumMod val="95000"/>
                </a:schemeClr>
              </a:solidFill>
            </a:endParaRPr>
          </a:p>
        </p:txBody>
      </p:sp>
      <p:cxnSp>
        <p:nvCxnSpPr>
          <p:cNvPr id="5" name="Google Shape;1057;p35">
            <a:extLst>
              <a:ext uri="{FF2B5EF4-FFF2-40B4-BE49-F238E27FC236}">
                <a16:creationId xmlns:a16="http://schemas.microsoft.com/office/drawing/2014/main" id="{2391EB9D-D8EE-47B8-A160-4679104A9A83}"/>
              </a:ext>
            </a:extLst>
          </p:cNvPr>
          <p:cNvCxnSpPr>
            <a:cxnSpLocks/>
          </p:cNvCxnSpPr>
          <p:nvPr/>
        </p:nvCxnSpPr>
        <p:spPr>
          <a:xfrm>
            <a:off x="6858000" y="1214357"/>
            <a:ext cx="5064369" cy="0"/>
          </a:xfrm>
          <a:prstGeom prst="straightConnector1">
            <a:avLst/>
          </a:prstGeom>
          <a:ln w="38100">
            <a:solidFill>
              <a:schemeClr val="tx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C9778C92-FE5D-4AD1-8218-CC9562E94D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708" y="1922243"/>
            <a:ext cx="10510583" cy="3743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256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5D49D38-08C5-401F-8E1E-E67F348B1346}"/>
              </a:ext>
            </a:extLst>
          </p:cNvPr>
          <p:cNvSpPr txBox="1"/>
          <p:nvPr/>
        </p:nvSpPr>
        <p:spPr>
          <a:xfrm>
            <a:off x="6295295" y="523874"/>
            <a:ext cx="550984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Server Side</a:t>
            </a:r>
            <a:r>
              <a:rPr lang="he-IL" sz="4000" b="1" dirty="0">
                <a:solidFill>
                  <a:schemeClr val="tx1">
                    <a:lumMod val="95000"/>
                  </a:schemeClr>
                </a:solidFill>
              </a:rPr>
              <a:t> - </a:t>
            </a:r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UML</a:t>
            </a:r>
            <a:endParaRPr lang="he-IL" sz="4000" b="1" dirty="0">
              <a:solidFill>
                <a:schemeClr val="tx1">
                  <a:lumMod val="95000"/>
                </a:schemeClr>
              </a:solidFill>
            </a:endParaRPr>
          </a:p>
        </p:txBody>
      </p:sp>
      <p:cxnSp>
        <p:nvCxnSpPr>
          <p:cNvPr id="5" name="Google Shape;1057;p35">
            <a:extLst>
              <a:ext uri="{FF2B5EF4-FFF2-40B4-BE49-F238E27FC236}">
                <a16:creationId xmlns:a16="http://schemas.microsoft.com/office/drawing/2014/main" id="{2391EB9D-D8EE-47B8-A160-4679104A9A83}"/>
              </a:ext>
            </a:extLst>
          </p:cNvPr>
          <p:cNvCxnSpPr>
            <a:cxnSpLocks/>
          </p:cNvCxnSpPr>
          <p:nvPr/>
        </p:nvCxnSpPr>
        <p:spPr>
          <a:xfrm>
            <a:off x="6858000" y="1214357"/>
            <a:ext cx="5064369" cy="0"/>
          </a:xfrm>
          <a:prstGeom prst="straightConnector1">
            <a:avLst/>
          </a:prstGeom>
          <a:ln w="38100">
            <a:solidFill>
              <a:schemeClr val="tx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C0B31984-CEE4-4973-B4C9-CBB0D0416F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646" y="1904841"/>
            <a:ext cx="11434723" cy="343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481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17FE152-64BF-4BC2-A94C-2601EAC09F9A}"/>
              </a:ext>
            </a:extLst>
          </p:cNvPr>
          <p:cNvSpPr txBox="1"/>
          <p:nvPr/>
        </p:nvSpPr>
        <p:spPr>
          <a:xfrm>
            <a:off x="6635261" y="1277927"/>
            <a:ext cx="550984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JavaFX GUI - MVVM</a:t>
            </a:r>
            <a:endParaRPr lang="he-IL" sz="4000" b="1" dirty="0">
              <a:solidFill>
                <a:schemeClr val="tx1">
                  <a:lumMod val="95000"/>
                </a:schemeClr>
              </a:solidFill>
            </a:endParaRPr>
          </a:p>
        </p:txBody>
      </p:sp>
      <p:cxnSp>
        <p:nvCxnSpPr>
          <p:cNvPr id="5" name="Google Shape;1057;p35">
            <a:extLst>
              <a:ext uri="{FF2B5EF4-FFF2-40B4-BE49-F238E27FC236}">
                <a16:creationId xmlns:a16="http://schemas.microsoft.com/office/drawing/2014/main" id="{3F45FABC-97AE-4E65-830E-15D673A0764E}"/>
              </a:ext>
            </a:extLst>
          </p:cNvPr>
          <p:cNvCxnSpPr>
            <a:cxnSpLocks/>
          </p:cNvCxnSpPr>
          <p:nvPr/>
        </p:nvCxnSpPr>
        <p:spPr>
          <a:xfrm>
            <a:off x="6858000" y="1214357"/>
            <a:ext cx="5064369" cy="0"/>
          </a:xfrm>
          <a:prstGeom prst="straightConnector1">
            <a:avLst/>
          </a:prstGeom>
          <a:ln w="38100">
            <a:solidFill>
              <a:schemeClr val="tx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Picture 5" descr="A close up of a screen&#10;&#10;Description automatically generated">
            <a:extLst>
              <a:ext uri="{FF2B5EF4-FFF2-40B4-BE49-F238E27FC236}">
                <a16:creationId xmlns:a16="http://schemas.microsoft.com/office/drawing/2014/main" id="{49CADDA3-DF29-4628-B78E-529D84E1AA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8435" y="2818752"/>
            <a:ext cx="6783934" cy="2721876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71479D5E-2834-49F7-8F0D-2A22365B50C6}"/>
              </a:ext>
            </a:extLst>
          </p:cNvPr>
          <p:cNvSpPr txBox="1"/>
          <p:nvPr/>
        </p:nvSpPr>
        <p:spPr>
          <a:xfrm>
            <a:off x="-70275" y="877817"/>
            <a:ext cx="143332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66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"/>
              </a:rPr>
              <a:t>1</a:t>
            </a:r>
            <a:endParaRPr lang="en-US" sz="11500" dirty="0">
              <a:solidFill>
                <a:schemeClr val="accent5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008FDA9-CC32-4677-82FD-E85AEC96BD27}"/>
              </a:ext>
            </a:extLst>
          </p:cNvPr>
          <p:cNvSpPr txBox="1"/>
          <p:nvPr/>
        </p:nvSpPr>
        <p:spPr>
          <a:xfrm>
            <a:off x="933730" y="1293315"/>
            <a:ext cx="3087285" cy="10156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400">
              <a:defRPr/>
            </a:pPr>
            <a:r>
              <a:rPr lang="en-US" sz="24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Calibri"/>
              </a:rPr>
              <a:t>Extensibility</a:t>
            </a:r>
          </a:p>
          <a:p>
            <a:pPr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Has the ability to replace or add new pieces of the cod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28DFE49-CBC5-46F6-BFCB-658F35775F97}"/>
              </a:ext>
            </a:extLst>
          </p:cNvPr>
          <p:cNvSpPr txBox="1"/>
          <p:nvPr/>
        </p:nvSpPr>
        <p:spPr>
          <a:xfrm>
            <a:off x="217067" y="2308978"/>
            <a:ext cx="143332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6600" b="1" dirty="0">
                <a:solidFill>
                  <a:srgbClr val="2DA2BF"/>
                </a:solidFill>
                <a:latin typeface="Calibri"/>
              </a:rPr>
              <a:t>2</a:t>
            </a:r>
            <a:endParaRPr lang="en-US" sz="6600" dirty="0">
              <a:solidFill>
                <a:srgbClr val="2DA2BF"/>
              </a:solidFill>
              <a:latin typeface="Calibri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B326A07-89C6-44CF-BFEB-BDC4677F984C}"/>
              </a:ext>
            </a:extLst>
          </p:cNvPr>
          <p:cNvSpPr txBox="1"/>
          <p:nvPr/>
        </p:nvSpPr>
        <p:spPr>
          <a:xfrm>
            <a:off x="1205547" y="2729313"/>
            <a:ext cx="3671253" cy="12926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400">
              <a:defRPr/>
            </a:pPr>
            <a:r>
              <a:rPr lang="en-US" sz="2400" b="1" dirty="0">
                <a:solidFill>
                  <a:srgbClr val="2DA2BF"/>
                </a:solidFill>
                <a:latin typeface="Calibri"/>
              </a:rPr>
              <a:t>Testability</a:t>
            </a:r>
          </a:p>
          <a:p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Make sure it works right when written and keeps working even when things change in maintenanc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1E321FD-8326-4757-AB0A-63E860E18AA4}"/>
              </a:ext>
            </a:extLst>
          </p:cNvPr>
          <p:cNvSpPr txBox="1"/>
          <p:nvPr/>
        </p:nvSpPr>
        <p:spPr>
          <a:xfrm>
            <a:off x="646388" y="3837309"/>
            <a:ext cx="143332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6600" b="1" dirty="0">
                <a:solidFill>
                  <a:srgbClr val="DA1F28"/>
                </a:solidFill>
                <a:latin typeface="Calibri"/>
              </a:rPr>
              <a:t>3</a:t>
            </a:r>
            <a:endParaRPr lang="en-US" sz="6600" dirty="0">
              <a:solidFill>
                <a:srgbClr val="DA1F28"/>
              </a:solidFill>
              <a:latin typeface="Calibri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1611E94-CECF-4AE3-8FBC-DECDEF5F8C22}"/>
              </a:ext>
            </a:extLst>
          </p:cNvPr>
          <p:cNvSpPr txBox="1"/>
          <p:nvPr/>
        </p:nvSpPr>
        <p:spPr>
          <a:xfrm>
            <a:off x="1650394" y="4179690"/>
            <a:ext cx="3370814" cy="166199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400">
              <a:defRPr/>
            </a:pPr>
            <a:r>
              <a:rPr lang="en-US" sz="2400" b="1" dirty="0">
                <a:solidFill>
                  <a:srgbClr val="DA1F28"/>
                </a:solidFill>
                <a:latin typeface="Calibri"/>
              </a:rPr>
              <a:t>Maintainability</a:t>
            </a:r>
          </a:p>
          <a:p>
            <a:pPr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A clean Separation between different kind of codes</a:t>
            </a:r>
          </a:p>
          <a:p>
            <a:pPr defTabSz="914400">
              <a:defRPr/>
            </a:pPr>
            <a:r>
              <a:rPr lang="en-US" b="1" dirty="0">
                <a:solidFill>
                  <a:schemeClr val="tx1">
                    <a:lumMod val="95000"/>
                  </a:schemeClr>
                </a:solidFill>
                <a:latin typeface="Calibri"/>
              </a:rPr>
              <a:t>Accelerates new releases</a:t>
            </a:r>
          </a:p>
          <a:p>
            <a:pPr defTabSz="914400">
              <a:defRPr/>
            </a:pPr>
            <a:endParaRPr lang="en-US" sz="2400" b="1" dirty="0">
              <a:solidFill>
                <a:srgbClr val="DA1F28"/>
              </a:solidFill>
              <a:latin typeface="Calibri"/>
            </a:endParaRPr>
          </a:p>
        </p:txBody>
      </p:sp>
      <p:sp>
        <p:nvSpPr>
          <p:cNvPr id="11" name="TextBox 3">
            <a:extLst>
              <a:ext uri="{FF2B5EF4-FFF2-40B4-BE49-F238E27FC236}">
                <a16:creationId xmlns:a16="http://schemas.microsoft.com/office/drawing/2014/main" id="{3D07FD3B-4601-46E5-9C32-C1B467CE7E50}"/>
              </a:ext>
            </a:extLst>
          </p:cNvPr>
          <p:cNvSpPr txBox="1"/>
          <p:nvPr/>
        </p:nvSpPr>
        <p:spPr>
          <a:xfrm>
            <a:off x="6295295" y="523874"/>
            <a:ext cx="550984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Client Side</a:t>
            </a:r>
            <a:endParaRPr lang="he-IL" sz="4000" b="1" dirty="0">
              <a:solidFill>
                <a:schemeClr val="tx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6153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1" name="Group 770">
            <a:extLst>
              <a:ext uri="{FF2B5EF4-FFF2-40B4-BE49-F238E27FC236}">
                <a16:creationId xmlns:a16="http://schemas.microsoft.com/office/drawing/2014/main" id="{1D6D05D7-E83F-4119-9553-1E015A178B05}"/>
              </a:ext>
            </a:extLst>
          </p:cNvPr>
          <p:cNvGrpSpPr/>
          <p:nvPr/>
        </p:nvGrpSpPr>
        <p:grpSpPr>
          <a:xfrm>
            <a:off x="-159805" y="1341"/>
            <a:ext cx="12511610" cy="6856659"/>
            <a:chOff x="-166097" y="0"/>
            <a:chExt cx="12511610" cy="6856659"/>
          </a:xfrm>
        </p:grpSpPr>
        <p:sp>
          <p:nvSpPr>
            <p:cNvPr id="772" name="Rectangle 771">
              <a:extLst>
                <a:ext uri="{FF2B5EF4-FFF2-40B4-BE49-F238E27FC236}">
                  <a16:creationId xmlns:a16="http://schemas.microsoft.com/office/drawing/2014/main" id="{52FF3471-BB1A-4A75-BC82-240B73F93779}"/>
                </a:ext>
              </a:extLst>
            </p:cNvPr>
            <p:cNvSpPr/>
            <p:nvPr/>
          </p:nvSpPr>
          <p:spPr>
            <a:xfrm>
              <a:off x="-3875" y="1339"/>
              <a:ext cx="12193493" cy="685532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73" name="Group 772">
              <a:extLst>
                <a:ext uri="{FF2B5EF4-FFF2-40B4-BE49-F238E27FC236}">
                  <a16:creationId xmlns:a16="http://schemas.microsoft.com/office/drawing/2014/main" id="{AF9C7EE8-D75F-48D1-B4BB-E118178E4AF3}"/>
                </a:ext>
              </a:extLst>
            </p:cNvPr>
            <p:cNvGrpSpPr/>
            <p:nvPr/>
          </p:nvGrpSpPr>
          <p:grpSpPr>
            <a:xfrm>
              <a:off x="2437581" y="4192114"/>
              <a:ext cx="687004" cy="687004"/>
              <a:chOff x="2193333" y="4964414"/>
              <a:chExt cx="687004" cy="687004"/>
            </a:xfrm>
          </p:grpSpPr>
          <p:sp>
            <p:nvSpPr>
              <p:cNvPr id="1022" name="Oval 1021">
                <a:extLst>
                  <a:ext uri="{FF2B5EF4-FFF2-40B4-BE49-F238E27FC236}">
                    <a16:creationId xmlns:a16="http://schemas.microsoft.com/office/drawing/2014/main" id="{17D0AA6B-09CA-4DDC-B73D-C672F65E0F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3" name="Oval 1022">
                <a:extLst>
                  <a:ext uri="{FF2B5EF4-FFF2-40B4-BE49-F238E27FC236}">
                    <a16:creationId xmlns:a16="http://schemas.microsoft.com/office/drawing/2014/main" id="{90274D79-1EBD-4727-A35D-8CCE1D2A832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4" name="Oval 1023">
                <a:extLst>
                  <a:ext uri="{FF2B5EF4-FFF2-40B4-BE49-F238E27FC236}">
                    <a16:creationId xmlns:a16="http://schemas.microsoft.com/office/drawing/2014/main" id="{0E07D17B-81AD-4345-AB29-3DF7EC1F456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5" name="Plus 258">
                <a:extLst>
                  <a:ext uri="{FF2B5EF4-FFF2-40B4-BE49-F238E27FC236}">
                    <a16:creationId xmlns:a16="http://schemas.microsoft.com/office/drawing/2014/main" id="{7F3F94DF-7BAC-4A75-9E80-7FD83D84198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74" name="Group 773">
              <a:extLst>
                <a:ext uri="{FF2B5EF4-FFF2-40B4-BE49-F238E27FC236}">
                  <a16:creationId xmlns:a16="http://schemas.microsoft.com/office/drawing/2014/main" id="{E3E39A07-836B-4D4D-94CF-E2010E9293C7}"/>
                </a:ext>
              </a:extLst>
            </p:cNvPr>
            <p:cNvGrpSpPr/>
            <p:nvPr/>
          </p:nvGrpSpPr>
          <p:grpSpPr>
            <a:xfrm>
              <a:off x="-18239" y="0"/>
              <a:ext cx="12228471" cy="4893647"/>
              <a:chOff x="-18239" y="0"/>
              <a:chExt cx="12228471" cy="4893647"/>
            </a:xfrm>
          </p:grpSpPr>
          <p:sp>
            <p:nvSpPr>
              <p:cNvPr id="980" name="TextBox 979">
                <a:extLst>
                  <a:ext uri="{FF2B5EF4-FFF2-40B4-BE49-F238E27FC236}">
                    <a16:creationId xmlns:a16="http://schemas.microsoft.com/office/drawing/2014/main" id="{D484F759-1B1B-45E0-887B-E7E3B183C48D}"/>
                  </a:ext>
                </a:extLst>
              </p:cNvPr>
              <p:cNvSpPr txBox="1"/>
              <p:nvPr/>
            </p:nvSpPr>
            <p:spPr>
              <a:xfrm>
                <a:off x="-18239" y="0"/>
                <a:ext cx="354583" cy="43396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81" name="TextBox 980">
                <a:extLst>
                  <a:ext uri="{FF2B5EF4-FFF2-40B4-BE49-F238E27FC236}">
                    <a16:creationId xmlns:a16="http://schemas.microsoft.com/office/drawing/2014/main" id="{EA36D864-486B-4FF2-A750-CB9E89FEFAE3}"/>
                  </a:ext>
                </a:extLst>
              </p:cNvPr>
              <p:cNvSpPr txBox="1"/>
              <p:nvPr/>
            </p:nvSpPr>
            <p:spPr>
              <a:xfrm>
                <a:off x="271368" y="0"/>
                <a:ext cx="354583" cy="34163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82" name="TextBox 981">
                <a:extLst>
                  <a:ext uri="{FF2B5EF4-FFF2-40B4-BE49-F238E27FC236}">
                    <a16:creationId xmlns:a16="http://schemas.microsoft.com/office/drawing/2014/main" id="{8617CD04-ED0A-4DBB-9E30-C7A059690F15}"/>
                  </a:ext>
                </a:extLst>
              </p:cNvPr>
              <p:cNvSpPr txBox="1"/>
              <p:nvPr/>
            </p:nvSpPr>
            <p:spPr>
              <a:xfrm>
                <a:off x="560975" y="0"/>
                <a:ext cx="354583" cy="2862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</p:txBody>
          </p:sp>
          <p:sp>
            <p:nvSpPr>
              <p:cNvPr id="983" name="TextBox 982">
                <a:extLst>
                  <a:ext uri="{FF2B5EF4-FFF2-40B4-BE49-F238E27FC236}">
                    <a16:creationId xmlns:a16="http://schemas.microsoft.com/office/drawing/2014/main" id="{4D26CB9D-E64B-47E8-9618-9D9AF84F8323}"/>
                  </a:ext>
                </a:extLst>
              </p:cNvPr>
              <p:cNvSpPr txBox="1"/>
              <p:nvPr/>
            </p:nvSpPr>
            <p:spPr>
              <a:xfrm>
                <a:off x="850582" y="0"/>
                <a:ext cx="354583" cy="24929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84" name="TextBox 983">
                <a:extLst>
                  <a:ext uri="{FF2B5EF4-FFF2-40B4-BE49-F238E27FC236}">
                    <a16:creationId xmlns:a16="http://schemas.microsoft.com/office/drawing/2014/main" id="{31102E9E-33F9-421C-953D-051AE5A5FB1D}"/>
                  </a:ext>
                </a:extLst>
              </p:cNvPr>
              <p:cNvSpPr txBox="1"/>
              <p:nvPr/>
            </p:nvSpPr>
            <p:spPr>
              <a:xfrm>
                <a:off x="1140189" y="0"/>
                <a:ext cx="354583" cy="41549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85" name="TextBox 984">
                <a:extLst>
                  <a:ext uri="{FF2B5EF4-FFF2-40B4-BE49-F238E27FC236}">
                    <a16:creationId xmlns:a16="http://schemas.microsoft.com/office/drawing/2014/main" id="{B3B3B0AF-9B8C-46C7-AFDB-1444CEA76077}"/>
                  </a:ext>
                </a:extLst>
              </p:cNvPr>
              <p:cNvSpPr txBox="1"/>
              <p:nvPr/>
            </p:nvSpPr>
            <p:spPr>
              <a:xfrm>
                <a:off x="1429797" y="0"/>
                <a:ext cx="354583" cy="24929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86" name="TextBox 985">
                <a:extLst>
                  <a:ext uri="{FF2B5EF4-FFF2-40B4-BE49-F238E27FC236}">
                    <a16:creationId xmlns:a16="http://schemas.microsoft.com/office/drawing/2014/main" id="{8377063A-A995-4187-AAE0-D6DF767A4442}"/>
                  </a:ext>
                </a:extLst>
              </p:cNvPr>
              <p:cNvSpPr txBox="1"/>
              <p:nvPr/>
            </p:nvSpPr>
            <p:spPr>
              <a:xfrm>
                <a:off x="1719403" y="0"/>
                <a:ext cx="354583" cy="21236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87" name="TextBox 986">
                <a:extLst>
                  <a:ext uri="{FF2B5EF4-FFF2-40B4-BE49-F238E27FC236}">
                    <a16:creationId xmlns:a16="http://schemas.microsoft.com/office/drawing/2014/main" id="{E4BDD8FD-5519-4C87-914A-C0042D09E0C0}"/>
                  </a:ext>
                </a:extLst>
              </p:cNvPr>
              <p:cNvSpPr txBox="1"/>
              <p:nvPr/>
            </p:nvSpPr>
            <p:spPr>
              <a:xfrm>
                <a:off x="2009010" y="0"/>
                <a:ext cx="354583" cy="3046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</p:txBody>
          </p:sp>
          <p:sp>
            <p:nvSpPr>
              <p:cNvPr id="988" name="TextBox 987">
                <a:extLst>
                  <a:ext uri="{FF2B5EF4-FFF2-40B4-BE49-F238E27FC236}">
                    <a16:creationId xmlns:a16="http://schemas.microsoft.com/office/drawing/2014/main" id="{BC3E859D-BAC1-4D60-98EC-445839F4BF93}"/>
                  </a:ext>
                </a:extLst>
              </p:cNvPr>
              <p:cNvSpPr txBox="1"/>
              <p:nvPr/>
            </p:nvSpPr>
            <p:spPr>
              <a:xfrm>
                <a:off x="2298617" y="0"/>
                <a:ext cx="354583" cy="34163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89" name="TextBox 988">
                <a:extLst>
                  <a:ext uri="{FF2B5EF4-FFF2-40B4-BE49-F238E27FC236}">
                    <a16:creationId xmlns:a16="http://schemas.microsoft.com/office/drawing/2014/main" id="{C084F32E-FD71-4D10-A997-E34BBA46AE4E}"/>
                  </a:ext>
                </a:extLst>
              </p:cNvPr>
              <p:cNvSpPr txBox="1"/>
              <p:nvPr/>
            </p:nvSpPr>
            <p:spPr>
              <a:xfrm>
                <a:off x="2588224" y="0"/>
                <a:ext cx="354583" cy="48936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</p:txBody>
          </p:sp>
          <p:sp>
            <p:nvSpPr>
              <p:cNvPr id="990" name="TextBox 989">
                <a:extLst>
                  <a:ext uri="{FF2B5EF4-FFF2-40B4-BE49-F238E27FC236}">
                    <a16:creationId xmlns:a16="http://schemas.microsoft.com/office/drawing/2014/main" id="{EBB56072-8A98-40BC-9BD1-16E15E02EF43}"/>
                  </a:ext>
                </a:extLst>
              </p:cNvPr>
              <p:cNvSpPr txBox="1"/>
              <p:nvPr/>
            </p:nvSpPr>
            <p:spPr>
              <a:xfrm>
                <a:off x="2877831" y="0"/>
                <a:ext cx="354583" cy="32316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</p:txBody>
          </p:sp>
          <p:sp>
            <p:nvSpPr>
              <p:cNvPr id="991" name="TextBox 990">
                <a:extLst>
                  <a:ext uri="{FF2B5EF4-FFF2-40B4-BE49-F238E27FC236}">
                    <a16:creationId xmlns:a16="http://schemas.microsoft.com/office/drawing/2014/main" id="{F6ADF1D0-D199-4C83-8C76-524D539F363F}"/>
                  </a:ext>
                </a:extLst>
              </p:cNvPr>
              <p:cNvSpPr txBox="1"/>
              <p:nvPr/>
            </p:nvSpPr>
            <p:spPr>
              <a:xfrm>
                <a:off x="3167438" y="0"/>
                <a:ext cx="354583" cy="3046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992" name="TextBox 991">
                <a:extLst>
                  <a:ext uri="{FF2B5EF4-FFF2-40B4-BE49-F238E27FC236}">
                    <a16:creationId xmlns:a16="http://schemas.microsoft.com/office/drawing/2014/main" id="{C232E73C-57F6-4D27-88D8-F61C930A35C2}"/>
                  </a:ext>
                </a:extLst>
              </p:cNvPr>
              <p:cNvSpPr txBox="1"/>
              <p:nvPr/>
            </p:nvSpPr>
            <p:spPr>
              <a:xfrm>
                <a:off x="3746652" y="0"/>
                <a:ext cx="354583" cy="37856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</p:txBody>
          </p:sp>
          <p:sp>
            <p:nvSpPr>
              <p:cNvPr id="993" name="TextBox 992">
                <a:extLst>
                  <a:ext uri="{FF2B5EF4-FFF2-40B4-BE49-F238E27FC236}">
                    <a16:creationId xmlns:a16="http://schemas.microsoft.com/office/drawing/2014/main" id="{016DBA38-141C-49AC-9725-40784447313B}"/>
                  </a:ext>
                </a:extLst>
              </p:cNvPr>
              <p:cNvSpPr txBox="1"/>
              <p:nvPr/>
            </p:nvSpPr>
            <p:spPr>
              <a:xfrm>
                <a:off x="4036259" y="0"/>
                <a:ext cx="354583" cy="175432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</p:txBody>
          </p:sp>
          <p:sp>
            <p:nvSpPr>
              <p:cNvPr id="994" name="TextBox 993">
                <a:extLst>
                  <a:ext uri="{FF2B5EF4-FFF2-40B4-BE49-F238E27FC236}">
                    <a16:creationId xmlns:a16="http://schemas.microsoft.com/office/drawing/2014/main" id="{88B599AF-3195-49CC-9FA3-FE095B2F1F21}"/>
                  </a:ext>
                </a:extLst>
              </p:cNvPr>
              <p:cNvSpPr txBox="1"/>
              <p:nvPr/>
            </p:nvSpPr>
            <p:spPr>
              <a:xfrm>
                <a:off x="4325866" y="0"/>
                <a:ext cx="354583" cy="24929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95" name="TextBox 994">
                <a:extLst>
                  <a:ext uri="{FF2B5EF4-FFF2-40B4-BE49-F238E27FC236}">
                    <a16:creationId xmlns:a16="http://schemas.microsoft.com/office/drawing/2014/main" id="{57211E7C-978F-48FB-B58D-7E1365B5FFAF}"/>
                  </a:ext>
                </a:extLst>
              </p:cNvPr>
              <p:cNvSpPr txBox="1"/>
              <p:nvPr/>
            </p:nvSpPr>
            <p:spPr>
              <a:xfrm>
                <a:off x="4615473" y="0"/>
                <a:ext cx="354583" cy="2677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96" name="TextBox 995">
                <a:extLst>
                  <a:ext uri="{FF2B5EF4-FFF2-40B4-BE49-F238E27FC236}">
                    <a16:creationId xmlns:a16="http://schemas.microsoft.com/office/drawing/2014/main" id="{FFAB13FB-DD15-48C8-BEDE-D75BD15E654A}"/>
                  </a:ext>
                </a:extLst>
              </p:cNvPr>
              <p:cNvSpPr txBox="1"/>
              <p:nvPr/>
            </p:nvSpPr>
            <p:spPr>
              <a:xfrm>
                <a:off x="4905080" y="0"/>
                <a:ext cx="354583" cy="397031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97" name="TextBox 996">
                <a:extLst>
                  <a:ext uri="{FF2B5EF4-FFF2-40B4-BE49-F238E27FC236}">
                    <a16:creationId xmlns:a16="http://schemas.microsoft.com/office/drawing/2014/main" id="{A1685255-0AB4-4B5E-B098-5519BE3C9909}"/>
                  </a:ext>
                </a:extLst>
              </p:cNvPr>
              <p:cNvSpPr txBox="1"/>
              <p:nvPr/>
            </p:nvSpPr>
            <p:spPr>
              <a:xfrm>
                <a:off x="5194686" y="0"/>
                <a:ext cx="354583" cy="2677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</p:txBody>
          </p:sp>
          <p:sp>
            <p:nvSpPr>
              <p:cNvPr id="998" name="TextBox 997">
                <a:extLst>
                  <a:ext uri="{FF2B5EF4-FFF2-40B4-BE49-F238E27FC236}">
                    <a16:creationId xmlns:a16="http://schemas.microsoft.com/office/drawing/2014/main" id="{030616D2-4726-4779-B3BB-24AD783F876C}"/>
                  </a:ext>
                </a:extLst>
              </p:cNvPr>
              <p:cNvSpPr txBox="1"/>
              <p:nvPr/>
            </p:nvSpPr>
            <p:spPr>
              <a:xfrm>
                <a:off x="5484294" y="0"/>
                <a:ext cx="354583" cy="21236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999" name="TextBox 998">
                <a:extLst>
                  <a:ext uri="{FF2B5EF4-FFF2-40B4-BE49-F238E27FC236}">
                    <a16:creationId xmlns:a16="http://schemas.microsoft.com/office/drawing/2014/main" id="{EC377ED6-BE51-439E-A05F-4123B45A86AE}"/>
                  </a:ext>
                </a:extLst>
              </p:cNvPr>
              <p:cNvSpPr txBox="1"/>
              <p:nvPr/>
            </p:nvSpPr>
            <p:spPr>
              <a:xfrm>
                <a:off x="5773901" y="0"/>
                <a:ext cx="354583" cy="24929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00" name="TextBox 999">
                <a:extLst>
                  <a:ext uri="{FF2B5EF4-FFF2-40B4-BE49-F238E27FC236}">
                    <a16:creationId xmlns:a16="http://schemas.microsoft.com/office/drawing/2014/main" id="{0369B2C2-2418-4482-9E54-93C7E897C007}"/>
                  </a:ext>
                </a:extLst>
              </p:cNvPr>
              <p:cNvSpPr txBox="1"/>
              <p:nvPr/>
            </p:nvSpPr>
            <p:spPr>
              <a:xfrm>
                <a:off x="6063508" y="0"/>
                <a:ext cx="354583" cy="2677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01" name="TextBox 1000">
                <a:extLst>
                  <a:ext uri="{FF2B5EF4-FFF2-40B4-BE49-F238E27FC236}">
                    <a16:creationId xmlns:a16="http://schemas.microsoft.com/office/drawing/2014/main" id="{2F31EFE3-3659-4F3D-9187-9A4553DE712E}"/>
                  </a:ext>
                </a:extLst>
              </p:cNvPr>
              <p:cNvSpPr txBox="1"/>
              <p:nvPr/>
            </p:nvSpPr>
            <p:spPr>
              <a:xfrm>
                <a:off x="6353115" y="0"/>
                <a:ext cx="354583" cy="45243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02" name="TextBox 1001">
                <a:extLst>
                  <a:ext uri="{FF2B5EF4-FFF2-40B4-BE49-F238E27FC236}">
                    <a16:creationId xmlns:a16="http://schemas.microsoft.com/office/drawing/2014/main" id="{20474C2B-D31A-426A-8B41-E6ED3ED9E42D}"/>
                  </a:ext>
                </a:extLst>
              </p:cNvPr>
              <p:cNvSpPr txBox="1"/>
              <p:nvPr/>
            </p:nvSpPr>
            <p:spPr>
              <a:xfrm>
                <a:off x="6642722" y="0"/>
                <a:ext cx="354583" cy="2677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03" name="TextBox 1002">
                <a:extLst>
                  <a:ext uri="{FF2B5EF4-FFF2-40B4-BE49-F238E27FC236}">
                    <a16:creationId xmlns:a16="http://schemas.microsoft.com/office/drawing/2014/main" id="{77CA0B98-42E7-436E-B25B-7507358C43BC}"/>
                  </a:ext>
                </a:extLst>
              </p:cNvPr>
              <p:cNvSpPr txBox="1"/>
              <p:nvPr/>
            </p:nvSpPr>
            <p:spPr>
              <a:xfrm>
                <a:off x="6932329" y="0"/>
                <a:ext cx="354583" cy="24929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04" name="TextBox 1003">
                <a:extLst>
                  <a:ext uri="{FF2B5EF4-FFF2-40B4-BE49-F238E27FC236}">
                    <a16:creationId xmlns:a16="http://schemas.microsoft.com/office/drawing/2014/main" id="{0FD3362F-1434-4CE7-B67E-B7C0DAA830F1}"/>
                  </a:ext>
                </a:extLst>
              </p:cNvPr>
              <p:cNvSpPr txBox="1"/>
              <p:nvPr/>
            </p:nvSpPr>
            <p:spPr>
              <a:xfrm>
                <a:off x="7221936" y="0"/>
                <a:ext cx="354583" cy="2862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</p:txBody>
          </p:sp>
          <p:sp>
            <p:nvSpPr>
              <p:cNvPr id="1005" name="TextBox 1004">
                <a:extLst>
                  <a:ext uri="{FF2B5EF4-FFF2-40B4-BE49-F238E27FC236}">
                    <a16:creationId xmlns:a16="http://schemas.microsoft.com/office/drawing/2014/main" id="{FA329741-0E60-4AAA-9359-0179A78BEEAC}"/>
                  </a:ext>
                </a:extLst>
              </p:cNvPr>
              <p:cNvSpPr txBox="1"/>
              <p:nvPr/>
            </p:nvSpPr>
            <p:spPr>
              <a:xfrm>
                <a:off x="7511543" y="0"/>
                <a:ext cx="354583" cy="397031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06" name="TextBox 1005">
                <a:extLst>
                  <a:ext uri="{FF2B5EF4-FFF2-40B4-BE49-F238E27FC236}">
                    <a16:creationId xmlns:a16="http://schemas.microsoft.com/office/drawing/2014/main" id="{646C7418-5CB2-46E3-8581-9C0A7BE3CE91}"/>
                  </a:ext>
                </a:extLst>
              </p:cNvPr>
              <p:cNvSpPr txBox="1"/>
              <p:nvPr/>
            </p:nvSpPr>
            <p:spPr>
              <a:xfrm>
                <a:off x="7801150" y="0"/>
                <a:ext cx="354583" cy="37856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07" name="TextBox 1006">
                <a:extLst>
                  <a:ext uri="{FF2B5EF4-FFF2-40B4-BE49-F238E27FC236}">
                    <a16:creationId xmlns:a16="http://schemas.microsoft.com/office/drawing/2014/main" id="{1D5DB135-DAD5-4D85-BB56-AAAD36B59A6F}"/>
                  </a:ext>
                </a:extLst>
              </p:cNvPr>
              <p:cNvSpPr txBox="1"/>
              <p:nvPr/>
            </p:nvSpPr>
            <p:spPr>
              <a:xfrm>
                <a:off x="8090758" y="0"/>
                <a:ext cx="354583" cy="138499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</p:txBody>
          </p:sp>
          <p:sp>
            <p:nvSpPr>
              <p:cNvPr id="1008" name="TextBox 1007">
                <a:extLst>
                  <a:ext uri="{FF2B5EF4-FFF2-40B4-BE49-F238E27FC236}">
                    <a16:creationId xmlns:a16="http://schemas.microsoft.com/office/drawing/2014/main" id="{63D53BD5-44BA-4973-8F7A-F3F1A245EB64}"/>
                  </a:ext>
                </a:extLst>
              </p:cNvPr>
              <p:cNvSpPr txBox="1"/>
              <p:nvPr/>
            </p:nvSpPr>
            <p:spPr>
              <a:xfrm>
                <a:off x="8380364" y="0"/>
                <a:ext cx="354583" cy="175432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</p:txBody>
          </p:sp>
          <p:sp>
            <p:nvSpPr>
              <p:cNvPr id="1009" name="TextBox 1008">
                <a:extLst>
                  <a:ext uri="{FF2B5EF4-FFF2-40B4-BE49-F238E27FC236}">
                    <a16:creationId xmlns:a16="http://schemas.microsoft.com/office/drawing/2014/main" id="{94A301E3-A5FD-4854-8C8C-7626804DE0BD}"/>
                  </a:ext>
                </a:extLst>
              </p:cNvPr>
              <p:cNvSpPr txBox="1"/>
              <p:nvPr/>
            </p:nvSpPr>
            <p:spPr>
              <a:xfrm>
                <a:off x="8669971" y="0"/>
                <a:ext cx="354583" cy="37856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0" name="TextBox 1009">
                <a:extLst>
                  <a:ext uri="{FF2B5EF4-FFF2-40B4-BE49-F238E27FC236}">
                    <a16:creationId xmlns:a16="http://schemas.microsoft.com/office/drawing/2014/main" id="{6978DEEB-1718-444C-876D-C2E1F7A4B943}"/>
                  </a:ext>
                </a:extLst>
              </p:cNvPr>
              <p:cNvSpPr txBox="1"/>
              <p:nvPr/>
            </p:nvSpPr>
            <p:spPr>
              <a:xfrm>
                <a:off x="8959577" y="0"/>
                <a:ext cx="354583" cy="45243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1" name="TextBox 1010">
                <a:extLst>
                  <a:ext uri="{FF2B5EF4-FFF2-40B4-BE49-F238E27FC236}">
                    <a16:creationId xmlns:a16="http://schemas.microsoft.com/office/drawing/2014/main" id="{18717551-5560-4EE1-B531-BEF247F421F4}"/>
                  </a:ext>
                </a:extLst>
              </p:cNvPr>
              <p:cNvSpPr txBox="1"/>
              <p:nvPr/>
            </p:nvSpPr>
            <p:spPr>
              <a:xfrm>
                <a:off x="9249185" y="0"/>
                <a:ext cx="354583" cy="24929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2" name="TextBox 1011">
                <a:extLst>
                  <a:ext uri="{FF2B5EF4-FFF2-40B4-BE49-F238E27FC236}">
                    <a16:creationId xmlns:a16="http://schemas.microsoft.com/office/drawing/2014/main" id="{2ABA5C84-108E-473D-8FAE-B02432702262}"/>
                  </a:ext>
                </a:extLst>
              </p:cNvPr>
              <p:cNvSpPr txBox="1"/>
              <p:nvPr/>
            </p:nvSpPr>
            <p:spPr>
              <a:xfrm>
                <a:off x="9538792" y="0"/>
                <a:ext cx="354583" cy="26776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3" name="TextBox 1012">
                <a:extLst>
                  <a:ext uri="{FF2B5EF4-FFF2-40B4-BE49-F238E27FC236}">
                    <a16:creationId xmlns:a16="http://schemas.microsoft.com/office/drawing/2014/main" id="{3C9F59A1-703A-426D-93CB-DB03D8604D01}"/>
                  </a:ext>
                </a:extLst>
              </p:cNvPr>
              <p:cNvSpPr txBox="1"/>
              <p:nvPr/>
            </p:nvSpPr>
            <p:spPr>
              <a:xfrm>
                <a:off x="9828399" y="0"/>
                <a:ext cx="354583" cy="41549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</p:txBody>
          </p:sp>
          <p:sp>
            <p:nvSpPr>
              <p:cNvPr id="1014" name="TextBox 1013">
                <a:extLst>
                  <a:ext uri="{FF2B5EF4-FFF2-40B4-BE49-F238E27FC236}">
                    <a16:creationId xmlns:a16="http://schemas.microsoft.com/office/drawing/2014/main" id="{F1FA8599-859D-4E51-85D6-4B441731D6FD}"/>
                  </a:ext>
                </a:extLst>
              </p:cNvPr>
              <p:cNvSpPr txBox="1"/>
              <p:nvPr/>
            </p:nvSpPr>
            <p:spPr>
              <a:xfrm>
                <a:off x="10118006" y="0"/>
                <a:ext cx="354583" cy="175432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5" name="TextBox 1014">
                <a:extLst>
                  <a:ext uri="{FF2B5EF4-FFF2-40B4-BE49-F238E27FC236}">
                    <a16:creationId xmlns:a16="http://schemas.microsoft.com/office/drawing/2014/main" id="{CD5F4FCE-F4D2-43E4-95F6-5AFB0E3EC63E}"/>
                  </a:ext>
                </a:extLst>
              </p:cNvPr>
              <p:cNvSpPr txBox="1"/>
              <p:nvPr/>
            </p:nvSpPr>
            <p:spPr>
              <a:xfrm>
                <a:off x="10407613" y="0"/>
                <a:ext cx="354583" cy="21236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6" name="TextBox 1015">
                <a:extLst>
                  <a:ext uri="{FF2B5EF4-FFF2-40B4-BE49-F238E27FC236}">
                    <a16:creationId xmlns:a16="http://schemas.microsoft.com/office/drawing/2014/main" id="{2B0747FC-8D98-4E50-9FD3-CAFEFF485D8C}"/>
                  </a:ext>
                </a:extLst>
              </p:cNvPr>
              <p:cNvSpPr txBox="1"/>
              <p:nvPr/>
            </p:nvSpPr>
            <p:spPr>
              <a:xfrm>
                <a:off x="10697220" y="0"/>
                <a:ext cx="354583" cy="30469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</p:txBody>
          </p:sp>
          <p:sp>
            <p:nvSpPr>
              <p:cNvPr id="1017" name="TextBox 1016">
                <a:extLst>
                  <a:ext uri="{FF2B5EF4-FFF2-40B4-BE49-F238E27FC236}">
                    <a16:creationId xmlns:a16="http://schemas.microsoft.com/office/drawing/2014/main" id="{5CDCAB15-5CF8-4DCA-8DFA-04C3E42CDBF5}"/>
                  </a:ext>
                </a:extLst>
              </p:cNvPr>
              <p:cNvSpPr txBox="1"/>
              <p:nvPr/>
            </p:nvSpPr>
            <p:spPr>
              <a:xfrm>
                <a:off x="10986827" y="0"/>
                <a:ext cx="354583" cy="397031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8" name="TextBox 1017">
                <a:extLst>
                  <a:ext uri="{FF2B5EF4-FFF2-40B4-BE49-F238E27FC236}">
                    <a16:creationId xmlns:a16="http://schemas.microsoft.com/office/drawing/2014/main" id="{78B3D339-9B9D-4006-96AC-6FBD94F4EE03}"/>
                  </a:ext>
                </a:extLst>
              </p:cNvPr>
              <p:cNvSpPr txBox="1"/>
              <p:nvPr/>
            </p:nvSpPr>
            <p:spPr>
              <a:xfrm>
                <a:off x="11276434" y="0"/>
                <a:ext cx="354583" cy="24929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  <p:sp>
            <p:nvSpPr>
              <p:cNvPr id="1019" name="TextBox 1018">
                <a:extLst>
                  <a:ext uri="{FF2B5EF4-FFF2-40B4-BE49-F238E27FC236}">
                    <a16:creationId xmlns:a16="http://schemas.microsoft.com/office/drawing/2014/main" id="{64A2855A-5B76-4DD1-8870-9E9F0DEE9A3C}"/>
                  </a:ext>
                </a:extLst>
              </p:cNvPr>
              <p:cNvSpPr txBox="1"/>
              <p:nvPr/>
            </p:nvSpPr>
            <p:spPr>
              <a:xfrm>
                <a:off x="11566041" y="0"/>
                <a:ext cx="354583" cy="28623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</p:txBody>
          </p:sp>
          <p:sp>
            <p:nvSpPr>
              <p:cNvPr id="1020" name="TextBox 1019">
                <a:extLst>
                  <a:ext uri="{FF2B5EF4-FFF2-40B4-BE49-F238E27FC236}">
                    <a16:creationId xmlns:a16="http://schemas.microsoft.com/office/drawing/2014/main" id="{AA69D83E-3C2F-4325-BD64-9ACDFCFF7AAD}"/>
                  </a:ext>
                </a:extLst>
              </p:cNvPr>
              <p:cNvSpPr txBox="1"/>
              <p:nvPr/>
            </p:nvSpPr>
            <p:spPr>
              <a:xfrm>
                <a:off x="11855649" y="0"/>
                <a:ext cx="354583" cy="41549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</p:txBody>
          </p:sp>
          <p:sp>
            <p:nvSpPr>
              <p:cNvPr id="1021" name="TextBox 1020">
                <a:extLst>
                  <a:ext uri="{FF2B5EF4-FFF2-40B4-BE49-F238E27FC236}">
                    <a16:creationId xmlns:a16="http://schemas.microsoft.com/office/drawing/2014/main" id="{CC682687-24F4-4E92-80D9-E3BDF76D7594}"/>
                  </a:ext>
                </a:extLst>
              </p:cNvPr>
              <p:cNvSpPr txBox="1"/>
              <p:nvPr/>
            </p:nvSpPr>
            <p:spPr>
              <a:xfrm>
                <a:off x="3457044" y="0"/>
                <a:ext cx="354583" cy="43396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0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</a:b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0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11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/>
                  </a:rPr>
                  <a:t>01</a:t>
                </a:r>
              </a:p>
            </p:txBody>
          </p:sp>
        </p:grpSp>
        <p:grpSp>
          <p:nvGrpSpPr>
            <p:cNvPr id="775" name="Group 774">
              <a:extLst>
                <a:ext uri="{FF2B5EF4-FFF2-40B4-BE49-F238E27FC236}">
                  <a16:creationId xmlns:a16="http://schemas.microsoft.com/office/drawing/2014/main" id="{8EFE1948-4000-435D-9032-4B4FA804CF97}"/>
                </a:ext>
              </a:extLst>
            </p:cNvPr>
            <p:cNvGrpSpPr/>
            <p:nvPr/>
          </p:nvGrpSpPr>
          <p:grpSpPr>
            <a:xfrm>
              <a:off x="946733" y="3752356"/>
              <a:ext cx="687004" cy="687004"/>
              <a:chOff x="2193333" y="4964414"/>
              <a:chExt cx="687004" cy="687004"/>
            </a:xfrm>
          </p:grpSpPr>
          <p:sp>
            <p:nvSpPr>
              <p:cNvPr id="976" name="Oval 975">
                <a:extLst>
                  <a:ext uri="{FF2B5EF4-FFF2-40B4-BE49-F238E27FC236}">
                    <a16:creationId xmlns:a16="http://schemas.microsoft.com/office/drawing/2014/main" id="{D4077450-DCC3-4734-8E9B-73E9052193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7" name="Oval 976">
                <a:extLst>
                  <a:ext uri="{FF2B5EF4-FFF2-40B4-BE49-F238E27FC236}">
                    <a16:creationId xmlns:a16="http://schemas.microsoft.com/office/drawing/2014/main" id="{833EC673-FCE1-4481-9EE6-59E713F5D5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8" name="Oval 977">
                <a:extLst>
                  <a:ext uri="{FF2B5EF4-FFF2-40B4-BE49-F238E27FC236}">
                    <a16:creationId xmlns:a16="http://schemas.microsoft.com/office/drawing/2014/main" id="{4F81BE4D-7539-44F7-905E-41EEBBABED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9" name="Plus 212">
                <a:extLst>
                  <a:ext uri="{FF2B5EF4-FFF2-40B4-BE49-F238E27FC236}">
                    <a16:creationId xmlns:a16="http://schemas.microsoft.com/office/drawing/2014/main" id="{A84746E7-8057-4F27-96E7-2894143D8A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76" name="Group 775">
              <a:extLst>
                <a:ext uri="{FF2B5EF4-FFF2-40B4-BE49-F238E27FC236}">
                  <a16:creationId xmlns:a16="http://schemas.microsoft.com/office/drawing/2014/main" id="{48BAB83F-7810-4DDC-B30A-C3922389DEA8}"/>
                </a:ext>
              </a:extLst>
            </p:cNvPr>
            <p:cNvGrpSpPr/>
            <p:nvPr/>
          </p:nvGrpSpPr>
          <p:grpSpPr>
            <a:xfrm>
              <a:off x="1531767" y="1581667"/>
              <a:ext cx="687004" cy="687004"/>
              <a:chOff x="2193333" y="4964414"/>
              <a:chExt cx="687004" cy="687004"/>
            </a:xfrm>
          </p:grpSpPr>
          <p:sp>
            <p:nvSpPr>
              <p:cNvPr id="972" name="Oval 971">
                <a:extLst>
                  <a:ext uri="{FF2B5EF4-FFF2-40B4-BE49-F238E27FC236}">
                    <a16:creationId xmlns:a16="http://schemas.microsoft.com/office/drawing/2014/main" id="{6CCAD698-04C5-43C6-8846-FD06F2F517F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3" name="Oval 972">
                <a:extLst>
                  <a:ext uri="{FF2B5EF4-FFF2-40B4-BE49-F238E27FC236}">
                    <a16:creationId xmlns:a16="http://schemas.microsoft.com/office/drawing/2014/main" id="{C5A7BBD5-FF01-4D1A-AB88-E27481C6595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4" name="Oval 973">
                <a:extLst>
                  <a:ext uri="{FF2B5EF4-FFF2-40B4-BE49-F238E27FC236}">
                    <a16:creationId xmlns:a16="http://schemas.microsoft.com/office/drawing/2014/main" id="{16A83BC2-4338-4DB9-9C85-0B901CA35A9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5" name="Plus 208">
                <a:extLst>
                  <a:ext uri="{FF2B5EF4-FFF2-40B4-BE49-F238E27FC236}">
                    <a16:creationId xmlns:a16="http://schemas.microsoft.com/office/drawing/2014/main" id="{A1F00FC5-EAF1-417D-9711-FF9EA2FDF58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77" name="Group 776">
              <a:extLst>
                <a:ext uri="{FF2B5EF4-FFF2-40B4-BE49-F238E27FC236}">
                  <a16:creationId xmlns:a16="http://schemas.microsoft.com/office/drawing/2014/main" id="{58C50FA2-E11D-4F79-BF48-AF92AA783CDF}"/>
                </a:ext>
              </a:extLst>
            </p:cNvPr>
            <p:cNvGrpSpPr/>
            <p:nvPr/>
          </p:nvGrpSpPr>
          <p:grpSpPr>
            <a:xfrm>
              <a:off x="3885285" y="1295413"/>
              <a:ext cx="687004" cy="687004"/>
              <a:chOff x="2193333" y="4964414"/>
              <a:chExt cx="687004" cy="687004"/>
            </a:xfrm>
          </p:grpSpPr>
          <p:sp>
            <p:nvSpPr>
              <p:cNvPr id="968" name="Oval 967">
                <a:extLst>
                  <a:ext uri="{FF2B5EF4-FFF2-40B4-BE49-F238E27FC236}">
                    <a16:creationId xmlns:a16="http://schemas.microsoft.com/office/drawing/2014/main" id="{834081E6-187D-4899-A2EE-11EB956378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9" name="Oval 968">
                <a:extLst>
                  <a:ext uri="{FF2B5EF4-FFF2-40B4-BE49-F238E27FC236}">
                    <a16:creationId xmlns:a16="http://schemas.microsoft.com/office/drawing/2014/main" id="{6C7EAD49-FF0F-4A19-92D4-588FA6C1018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0" name="Oval 969">
                <a:extLst>
                  <a:ext uri="{FF2B5EF4-FFF2-40B4-BE49-F238E27FC236}">
                    <a16:creationId xmlns:a16="http://schemas.microsoft.com/office/drawing/2014/main" id="{A55C3128-CE7E-419C-A213-D5D891AAC0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1" name="Plus 204">
                <a:extLst>
                  <a:ext uri="{FF2B5EF4-FFF2-40B4-BE49-F238E27FC236}">
                    <a16:creationId xmlns:a16="http://schemas.microsoft.com/office/drawing/2014/main" id="{D5B19F75-4EE6-4BBA-B0AE-1FC0D31F971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78" name="Group 777">
              <a:extLst>
                <a:ext uri="{FF2B5EF4-FFF2-40B4-BE49-F238E27FC236}">
                  <a16:creationId xmlns:a16="http://schemas.microsoft.com/office/drawing/2014/main" id="{FA9A8FE3-150B-46D5-BA61-6F3F10AB4B6E}"/>
                </a:ext>
              </a:extLst>
            </p:cNvPr>
            <p:cNvGrpSpPr/>
            <p:nvPr/>
          </p:nvGrpSpPr>
          <p:grpSpPr>
            <a:xfrm>
              <a:off x="7875992" y="916195"/>
              <a:ext cx="687004" cy="687004"/>
              <a:chOff x="2193333" y="4964414"/>
              <a:chExt cx="687004" cy="687004"/>
            </a:xfrm>
          </p:grpSpPr>
          <p:sp>
            <p:nvSpPr>
              <p:cNvPr id="964" name="Oval 963">
                <a:extLst>
                  <a:ext uri="{FF2B5EF4-FFF2-40B4-BE49-F238E27FC236}">
                    <a16:creationId xmlns:a16="http://schemas.microsoft.com/office/drawing/2014/main" id="{C26EA790-E638-492E-8EC6-53ADA692BD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5" name="Oval 964">
                <a:extLst>
                  <a:ext uri="{FF2B5EF4-FFF2-40B4-BE49-F238E27FC236}">
                    <a16:creationId xmlns:a16="http://schemas.microsoft.com/office/drawing/2014/main" id="{AD43A73C-CD47-41E0-A3B4-9C7F339DDAD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6" name="Oval 965">
                <a:extLst>
                  <a:ext uri="{FF2B5EF4-FFF2-40B4-BE49-F238E27FC236}">
                    <a16:creationId xmlns:a16="http://schemas.microsoft.com/office/drawing/2014/main" id="{73F812CC-0D64-496F-AD0B-7AF120369B4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7" name="Plus 200">
                <a:extLst>
                  <a:ext uri="{FF2B5EF4-FFF2-40B4-BE49-F238E27FC236}">
                    <a16:creationId xmlns:a16="http://schemas.microsoft.com/office/drawing/2014/main" id="{D01C4E9F-2E68-4B4F-859D-F2D67940DA8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79" name="Group 778">
              <a:extLst>
                <a:ext uri="{FF2B5EF4-FFF2-40B4-BE49-F238E27FC236}">
                  <a16:creationId xmlns:a16="http://schemas.microsoft.com/office/drawing/2014/main" id="{4012D76B-6A2C-4D02-AEBD-26B1AAB7EDA2}"/>
                </a:ext>
              </a:extLst>
            </p:cNvPr>
            <p:cNvGrpSpPr/>
            <p:nvPr/>
          </p:nvGrpSpPr>
          <p:grpSpPr>
            <a:xfrm>
              <a:off x="8789178" y="4055184"/>
              <a:ext cx="687004" cy="687004"/>
              <a:chOff x="2193333" y="4964414"/>
              <a:chExt cx="687004" cy="687004"/>
            </a:xfrm>
          </p:grpSpPr>
          <p:sp>
            <p:nvSpPr>
              <p:cNvPr id="960" name="Oval 959">
                <a:extLst>
                  <a:ext uri="{FF2B5EF4-FFF2-40B4-BE49-F238E27FC236}">
                    <a16:creationId xmlns:a16="http://schemas.microsoft.com/office/drawing/2014/main" id="{118AF797-3165-49BB-97EE-7DDFE16FFCC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1" name="Oval 960">
                <a:extLst>
                  <a:ext uri="{FF2B5EF4-FFF2-40B4-BE49-F238E27FC236}">
                    <a16:creationId xmlns:a16="http://schemas.microsoft.com/office/drawing/2014/main" id="{37ED4E0D-8EA1-4185-934E-1A5C7539CAE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2" name="Oval 961">
                <a:extLst>
                  <a:ext uri="{FF2B5EF4-FFF2-40B4-BE49-F238E27FC236}">
                    <a16:creationId xmlns:a16="http://schemas.microsoft.com/office/drawing/2014/main" id="{EB872EE1-86E7-43F5-ADA6-7562AC23AC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3" name="Plus 196">
                <a:extLst>
                  <a:ext uri="{FF2B5EF4-FFF2-40B4-BE49-F238E27FC236}">
                    <a16:creationId xmlns:a16="http://schemas.microsoft.com/office/drawing/2014/main" id="{DBCB6F73-5CDA-4BFD-847D-156FA519768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0" name="Group 779">
              <a:extLst>
                <a:ext uri="{FF2B5EF4-FFF2-40B4-BE49-F238E27FC236}">
                  <a16:creationId xmlns:a16="http://schemas.microsoft.com/office/drawing/2014/main" id="{8A2CBDC3-592F-45EF-A477-724E861F435E}"/>
                </a:ext>
              </a:extLst>
            </p:cNvPr>
            <p:cNvGrpSpPr/>
            <p:nvPr/>
          </p:nvGrpSpPr>
          <p:grpSpPr>
            <a:xfrm>
              <a:off x="7329766" y="3486594"/>
              <a:ext cx="687004" cy="687004"/>
              <a:chOff x="2193333" y="4964414"/>
              <a:chExt cx="687004" cy="687004"/>
            </a:xfrm>
          </p:grpSpPr>
          <p:sp>
            <p:nvSpPr>
              <p:cNvPr id="956" name="Oval 955">
                <a:extLst>
                  <a:ext uri="{FF2B5EF4-FFF2-40B4-BE49-F238E27FC236}">
                    <a16:creationId xmlns:a16="http://schemas.microsoft.com/office/drawing/2014/main" id="{8B6AC9DC-891B-4BB9-B501-C8A062EAC35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7" name="Oval 956">
                <a:extLst>
                  <a:ext uri="{FF2B5EF4-FFF2-40B4-BE49-F238E27FC236}">
                    <a16:creationId xmlns:a16="http://schemas.microsoft.com/office/drawing/2014/main" id="{F060865B-F025-4722-B495-F8EA322DC90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8" name="Oval 957">
                <a:extLst>
                  <a:ext uri="{FF2B5EF4-FFF2-40B4-BE49-F238E27FC236}">
                    <a16:creationId xmlns:a16="http://schemas.microsoft.com/office/drawing/2014/main" id="{4A7B0660-9183-47A5-966B-793F4ACB030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9" name="Plus 192">
                <a:extLst>
                  <a:ext uri="{FF2B5EF4-FFF2-40B4-BE49-F238E27FC236}">
                    <a16:creationId xmlns:a16="http://schemas.microsoft.com/office/drawing/2014/main" id="{87264BCE-6B4A-4572-9C17-41719A69723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1" name="Group 780">
              <a:extLst>
                <a:ext uri="{FF2B5EF4-FFF2-40B4-BE49-F238E27FC236}">
                  <a16:creationId xmlns:a16="http://schemas.microsoft.com/office/drawing/2014/main" id="{C2198833-E1B0-48FD-957E-54A14021830E}"/>
                </a:ext>
              </a:extLst>
            </p:cNvPr>
            <p:cNvGrpSpPr/>
            <p:nvPr/>
          </p:nvGrpSpPr>
          <p:grpSpPr>
            <a:xfrm>
              <a:off x="6158957" y="4023994"/>
              <a:ext cx="687004" cy="687004"/>
              <a:chOff x="2193333" y="4964414"/>
              <a:chExt cx="687004" cy="687004"/>
            </a:xfrm>
          </p:grpSpPr>
          <p:sp>
            <p:nvSpPr>
              <p:cNvPr id="952" name="Oval 951">
                <a:extLst>
                  <a:ext uri="{FF2B5EF4-FFF2-40B4-BE49-F238E27FC236}">
                    <a16:creationId xmlns:a16="http://schemas.microsoft.com/office/drawing/2014/main" id="{BD9C6855-F8F2-46C5-9EC1-36937B54EBE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3" name="Oval 952">
                <a:extLst>
                  <a:ext uri="{FF2B5EF4-FFF2-40B4-BE49-F238E27FC236}">
                    <a16:creationId xmlns:a16="http://schemas.microsoft.com/office/drawing/2014/main" id="{0121BD33-9B6A-4521-A5D5-6059975CA4B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4" name="Oval 953">
                <a:extLst>
                  <a:ext uri="{FF2B5EF4-FFF2-40B4-BE49-F238E27FC236}">
                    <a16:creationId xmlns:a16="http://schemas.microsoft.com/office/drawing/2014/main" id="{C9777E2F-4467-4454-8446-7E5AFA4E217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5" name="Plus 188">
                <a:extLst>
                  <a:ext uri="{FF2B5EF4-FFF2-40B4-BE49-F238E27FC236}">
                    <a16:creationId xmlns:a16="http://schemas.microsoft.com/office/drawing/2014/main" id="{7FD08C4D-D6B8-41B3-8876-F539961F61A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2" name="Group 781">
              <a:extLst>
                <a:ext uri="{FF2B5EF4-FFF2-40B4-BE49-F238E27FC236}">
                  <a16:creationId xmlns:a16="http://schemas.microsoft.com/office/drawing/2014/main" id="{71AA953C-5D31-495F-B4F7-AEB7E54335DD}"/>
                </a:ext>
              </a:extLst>
            </p:cNvPr>
            <p:cNvGrpSpPr/>
            <p:nvPr/>
          </p:nvGrpSpPr>
          <p:grpSpPr>
            <a:xfrm>
              <a:off x="4782514" y="3614198"/>
              <a:ext cx="687004" cy="687004"/>
              <a:chOff x="2193333" y="4964414"/>
              <a:chExt cx="687004" cy="687004"/>
            </a:xfrm>
          </p:grpSpPr>
          <p:sp>
            <p:nvSpPr>
              <p:cNvPr id="948" name="Oval 947">
                <a:extLst>
                  <a:ext uri="{FF2B5EF4-FFF2-40B4-BE49-F238E27FC236}">
                    <a16:creationId xmlns:a16="http://schemas.microsoft.com/office/drawing/2014/main" id="{4111F16D-E5BE-4647-84F8-D5CCF0F486A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9" name="Oval 948">
                <a:extLst>
                  <a:ext uri="{FF2B5EF4-FFF2-40B4-BE49-F238E27FC236}">
                    <a16:creationId xmlns:a16="http://schemas.microsoft.com/office/drawing/2014/main" id="{ACA38496-E6A3-4962-ABD2-BABD0850AD8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0" name="Oval 949">
                <a:extLst>
                  <a:ext uri="{FF2B5EF4-FFF2-40B4-BE49-F238E27FC236}">
                    <a16:creationId xmlns:a16="http://schemas.microsoft.com/office/drawing/2014/main" id="{D51F5887-CE78-4632-B605-DA91751B458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1" name="Plus 184">
                <a:extLst>
                  <a:ext uri="{FF2B5EF4-FFF2-40B4-BE49-F238E27FC236}">
                    <a16:creationId xmlns:a16="http://schemas.microsoft.com/office/drawing/2014/main" id="{74FFA53C-E1A7-4A0F-A3B3-BD1DE781CC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3" name="Group 782">
              <a:extLst>
                <a:ext uri="{FF2B5EF4-FFF2-40B4-BE49-F238E27FC236}">
                  <a16:creationId xmlns:a16="http://schemas.microsoft.com/office/drawing/2014/main" id="{9DB5A585-DE9F-4130-85FA-026592948CE0}"/>
                </a:ext>
              </a:extLst>
            </p:cNvPr>
            <p:cNvGrpSpPr/>
            <p:nvPr/>
          </p:nvGrpSpPr>
          <p:grpSpPr>
            <a:xfrm>
              <a:off x="3276518" y="3926357"/>
              <a:ext cx="687004" cy="687004"/>
              <a:chOff x="2193333" y="4964414"/>
              <a:chExt cx="687004" cy="687004"/>
            </a:xfrm>
          </p:grpSpPr>
          <p:sp>
            <p:nvSpPr>
              <p:cNvPr id="944" name="Oval 943">
                <a:extLst>
                  <a:ext uri="{FF2B5EF4-FFF2-40B4-BE49-F238E27FC236}">
                    <a16:creationId xmlns:a16="http://schemas.microsoft.com/office/drawing/2014/main" id="{99AC9571-6D31-4944-91CD-8E1CB0011BE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5" name="Oval 944">
                <a:extLst>
                  <a:ext uri="{FF2B5EF4-FFF2-40B4-BE49-F238E27FC236}">
                    <a16:creationId xmlns:a16="http://schemas.microsoft.com/office/drawing/2014/main" id="{ACB50A3E-5C87-4824-BFEB-757E2AB1968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6" name="Oval 945">
                <a:extLst>
                  <a:ext uri="{FF2B5EF4-FFF2-40B4-BE49-F238E27FC236}">
                    <a16:creationId xmlns:a16="http://schemas.microsoft.com/office/drawing/2014/main" id="{2B965FBF-ACA0-4478-9CF4-E5853351F3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7" name="Plus 180">
                <a:extLst>
                  <a:ext uri="{FF2B5EF4-FFF2-40B4-BE49-F238E27FC236}">
                    <a16:creationId xmlns:a16="http://schemas.microsoft.com/office/drawing/2014/main" id="{7EA6FA9B-50ED-48EE-BF95-BE1BBD7D87C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4" name="Group 783">
              <a:extLst>
                <a:ext uri="{FF2B5EF4-FFF2-40B4-BE49-F238E27FC236}">
                  <a16:creationId xmlns:a16="http://schemas.microsoft.com/office/drawing/2014/main" id="{1FCA0293-B766-4D31-94FA-E59B63992917}"/>
                </a:ext>
              </a:extLst>
            </p:cNvPr>
            <p:cNvGrpSpPr/>
            <p:nvPr/>
          </p:nvGrpSpPr>
          <p:grpSpPr>
            <a:xfrm>
              <a:off x="-166097" y="3837311"/>
              <a:ext cx="687004" cy="687004"/>
              <a:chOff x="2193333" y="4964414"/>
              <a:chExt cx="687004" cy="687004"/>
            </a:xfrm>
          </p:grpSpPr>
          <p:sp>
            <p:nvSpPr>
              <p:cNvPr id="940" name="Oval 939">
                <a:extLst>
                  <a:ext uri="{FF2B5EF4-FFF2-40B4-BE49-F238E27FC236}">
                    <a16:creationId xmlns:a16="http://schemas.microsoft.com/office/drawing/2014/main" id="{1B78E6D4-06E3-463F-AA15-6AED0C29CA5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1" name="Oval 940">
                <a:extLst>
                  <a:ext uri="{FF2B5EF4-FFF2-40B4-BE49-F238E27FC236}">
                    <a16:creationId xmlns:a16="http://schemas.microsoft.com/office/drawing/2014/main" id="{F3830E15-03BC-4D4C-A7F2-FE7B70BCC5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2" name="Oval 941">
                <a:extLst>
                  <a:ext uri="{FF2B5EF4-FFF2-40B4-BE49-F238E27FC236}">
                    <a16:creationId xmlns:a16="http://schemas.microsoft.com/office/drawing/2014/main" id="{4062D590-B28F-4CF9-B153-E804C9E8E43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3" name="Plus 176">
                <a:extLst>
                  <a:ext uri="{FF2B5EF4-FFF2-40B4-BE49-F238E27FC236}">
                    <a16:creationId xmlns:a16="http://schemas.microsoft.com/office/drawing/2014/main" id="{8925E59D-B487-4915-A81A-D526BAE78F6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5" name="Group 784">
              <a:extLst>
                <a:ext uri="{FF2B5EF4-FFF2-40B4-BE49-F238E27FC236}">
                  <a16:creationId xmlns:a16="http://schemas.microsoft.com/office/drawing/2014/main" id="{D6442CA1-0D7E-4164-A914-7B0564B32DEA}"/>
                </a:ext>
              </a:extLst>
            </p:cNvPr>
            <p:cNvGrpSpPr/>
            <p:nvPr/>
          </p:nvGrpSpPr>
          <p:grpSpPr>
            <a:xfrm>
              <a:off x="127210" y="2735896"/>
              <a:ext cx="687004" cy="687004"/>
              <a:chOff x="2193333" y="4964414"/>
              <a:chExt cx="687004" cy="687004"/>
            </a:xfrm>
          </p:grpSpPr>
          <p:sp>
            <p:nvSpPr>
              <p:cNvPr id="936" name="Oval 935">
                <a:extLst>
                  <a:ext uri="{FF2B5EF4-FFF2-40B4-BE49-F238E27FC236}">
                    <a16:creationId xmlns:a16="http://schemas.microsoft.com/office/drawing/2014/main" id="{20ABA9F1-12B7-42CB-B519-2DDCE793FEB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7" name="Oval 936">
                <a:extLst>
                  <a:ext uri="{FF2B5EF4-FFF2-40B4-BE49-F238E27FC236}">
                    <a16:creationId xmlns:a16="http://schemas.microsoft.com/office/drawing/2014/main" id="{551A3C42-98DC-4B1B-BDE4-E2753130E28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8" name="Oval 937">
                <a:extLst>
                  <a:ext uri="{FF2B5EF4-FFF2-40B4-BE49-F238E27FC236}">
                    <a16:creationId xmlns:a16="http://schemas.microsoft.com/office/drawing/2014/main" id="{6404772A-680F-4204-9BAF-4456D147A8A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9" name="Plus 172">
                <a:extLst>
                  <a:ext uri="{FF2B5EF4-FFF2-40B4-BE49-F238E27FC236}">
                    <a16:creationId xmlns:a16="http://schemas.microsoft.com/office/drawing/2014/main" id="{870BBF91-B7C1-4DD1-8768-2A207B0783A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6" name="Group 785">
              <a:extLst>
                <a:ext uri="{FF2B5EF4-FFF2-40B4-BE49-F238E27FC236}">
                  <a16:creationId xmlns:a16="http://schemas.microsoft.com/office/drawing/2014/main" id="{DBCEBEA7-8A02-444D-8355-955A2E2FC43E}"/>
                </a:ext>
              </a:extLst>
            </p:cNvPr>
            <p:cNvGrpSpPr/>
            <p:nvPr/>
          </p:nvGrpSpPr>
          <p:grpSpPr>
            <a:xfrm>
              <a:off x="402737" y="2355234"/>
              <a:ext cx="687004" cy="687004"/>
              <a:chOff x="2193333" y="4964414"/>
              <a:chExt cx="687004" cy="687004"/>
            </a:xfrm>
          </p:grpSpPr>
          <p:sp>
            <p:nvSpPr>
              <p:cNvPr id="932" name="Oval 931">
                <a:extLst>
                  <a:ext uri="{FF2B5EF4-FFF2-40B4-BE49-F238E27FC236}">
                    <a16:creationId xmlns:a16="http://schemas.microsoft.com/office/drawing/2014/main" id="{A107C66F-21BA-43CB-8E99-43C86DD93A9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3" name="Oval 932">
                <a:extLst>
                  <a:ext uri="{FF2B5EF4-FFF2-40B4-BE49-F238E27FC236}">
                    <a16:creationId xmlns:a16="http://schemas.microsoft.com/office/drawing/2014/main" id="{D13B75D9-AD60-4B85-B708-F202B3A71CD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4" name="Oval 933">
                <a:extLst>
                  <a:ext uri="{FF2B5EF4-FFF2-40B4-BE49-F238E27FC236}">
                    <a16:creationId xmlns:a16="http://schemas.microsoft.com/office/drawing/2014/main" id="{26D53898-D0D3-4834-AA9E-A34E268991F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5" name="Plus 168">
                <a:extLst>
                  <a:ext uri="{FF2B5EF4-FFF2-40B4-BE49-F238E27FC236}">
                    <a16:creationId xmlns:a16="http://schemas.microsoft.com/office/drawing/2014/main" id="{FED592D3-B29F-4926-8F28-18413BABB45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7" name="Group 786">
              <a:extLst>
                <a:ext uri="{FF2B5EF4-FFF2-40B4-BE49-F238E27FC236}">
                  <a16:creationId xmlns:a16="http://schemas.microsoft.com/office/drawing/2014/main" id="{ADFEA6DD-5700-4A87-8B8D-7E72680DB89F}"/>
                </a:ext>
              </a:extLst>
            </p:cNvPr>
            <p:cNvGrpSpPr/>
            <p:nvPr/>
          </p:nvGrpSpPr>
          <p:grpSpPr>
            <a:xfrm>
              <a:off x="678534" y="1861436"/>
              <a:ext cx="687004" cy="687004"/>
              <a:chOff x="2193333" y="4964414"/>
              <a:chExt cx="687004" cy="687004"/>
            </a:xfrm>
          </p:grpSpPr>
          <p:sp>
            <p:nvSpPr>
              <p:cNvPr id="928" name="Oval 927">
                <a:extLst>
                  <a:ext uri="{FF2B5EF4-FFF2-40B4-BE49-F238E27FC236}">
                    <a16:creationId xmlns:a16="http://schemas.microsoft.com/office/drawing/2014/main" id="{5BC83184-2260-4A03-BF4C-E06C684ED67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9" name="Oval 928">
                <a:extLst>
                  <a:ext uri="{FF2B5EF4-FFF2-40B4-BE49-F238E27FC236}">
                    <a16:creationId xmlns:a16="http://schemas.microsoft.com/office/drawing/2014/main" id="{9DC0FD52-E390-4DB6-97B2-D6ACB87F914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0" name="Oval 929">
                <a:extLst>
                  <a:ext uri="{FF2B5EF4-FFF2-40B4-BE49-F238E27FC236}">
                    <a16:creationId xmlns:a16="http://schemas.microsoft.com/office/drawing/2014/main" id="{8C68465B-36C2-4AFF-83CC-D2816D5A426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1" name="Plus 164">
                <a:extLst>
                  <a:ext uri="{FF2B5EF4-FFF2-40B4-BE49-F238E27FC236}">
                    <a16:creationId xmlns:a16="http://schemas.microsoft.com/office/drawing/2014/main" id="{4297B21F-AE5F-42FE-AB73-F0B14652E08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E0CA9A57-A9AC-405E-AFED-1E68060A0926}"/>
                </a:ext>
              </a:extLst>
            </p:cNvPr>
            <p:cNvGrpSpPr/>
            <p:nvPr/>
          </p:nvGrpSpPr>
          <p:grpSpPr>
            <a:xfrm>
              <a:off x="1243728" y="2009478"/>
              <a:ext cx="687004" cy="687004"/>
              <a:chOff x="2193333" y="4964414"/>
              <a:chExt cx="687004" cy="687004"/>
            </a:xfrm>
          </p:grpSpPr>
          <p:sp>
            <p:nvSpPr>
              <p:cNvPr id="924" name="Oval 923">
                <a:extLst>
                  <a:ext uri="{FF2B5EF4-FFF2-40B4-BE49-F238E27FC236}">
                    <a16:creationId xmlns:a16="http://schemas.microsoft.com/office/drawing/2014/main" id="{419B14D7-03AD-48F2-A176-6D40EC13813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5" name="Oval 924">
                <a:extLst>
                  <a:ext uri="{FF2B5EF4-FFF2-40B4-BE49-F238E27FC236}">
                    <a16:creationId xmlns:a16="http://schemas.microsoft.com/office/drawing/2014/main" id="{AC84D517-7707-42F6-B72F-E6BACDFF85C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6" name="Oval 925">
                <a:extLst>
                  <a:ext uri="{FF2B5EF4-FFF2-40B4-BE49-F238E27FC236}">
                    <a16:creationId xmlns:a16="http://schemas.microsoft.com/office/drawing/2014/main" id="{4AA6C4C8-E68F-49CC-AFF1-73AA8032429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7" name="Plus 160">
                <a:extLst>
                  <a:ext uri="{FF2B5EF4-FFF2-40B4-BE49-F238E27FC236}">
                    <a16:creationId xmlns:a16="http://schemas.microsoft.com/office/drawing/2014/main" id="{1871ED1C-5A36-488A-BA5E-4173FA52EAE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89" name="Group 788">
              <a:extLst>
                <a:ext uri="{FF2B5EF4-FFF2-40B4-BE49-F238E27FC236}">
                  <a16:creationId xmlns:a16="http://schemas.microsoft.com/office/drawing/2014/main" id="{3205D325-374E-46C8-86D2-DDB9D7E29541}"/>
                </a:ext>
              </a:extLst>
            </p:cNvPr>
            <p:cNvGrpSpPr/>
            <p:nvPr/>
          </p:nvGrpSpPr>
          <p:grpSpPr>
            <a:xfrm>
              <a:off x="1825115" y="2577250"/>
              <a:ext cx="687004" cy="687004"/>
              <a:chOff x="2193333" y="4964414"/>
              <a:chExt cx="687004" cy="687004"/>
            </a:xfrm>
          </p:grpSpPr>
          <p:sp>
            <p:nvSpPr>
              <p:cNvPr id="920" name="Oval 919">
                <a:extLst>
                  <a:ext uri="{FF2B5EF4-FFF2-40B4-BE49-F238E27FC236}">
                    <a16:creationId xmlns:a16="http://schemas.microsoft.com/office/drawing/2014/main" id="{7FFD8185-726B-4B28-B10C-764CA77644C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1" name="Oval 920">
                <a:extLst>
                  <a:ext uri="{FF2B5EF4-FFF2-40B4-BE49-F238E27FC236}">
                    <a16:creationId xmlns:a16="http://schemas.microsoft.com/office/drawing/2014/main" id="{B7B1EAB0-53FE-4E6C-BEC2-0D132E35380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2" name="Oval 921">
                <a:extLst>
                  <a:ext uri="{FF2B5EF4-FFF2-40B4-BE49-F238E27FC236}">
                    <a16:creationId xmlns:a16="http://schemas.microsoft.com/office/drawing/2014/main" id="{DF84DCF5-60FE-4176-A0B0-0466E63E4D8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3" name="Plus 156">
                <a:extLst>
                  <a:ext uri="{FF2B5EF4-FFF2-40B4-BE49-F238E27FC236}">
                    <a16:creationId xmlns:a16="http://schemas.microsoft.com/office/drawing/2014/main" id="{14E038F4-AF60-4ABD-B9AC-393F144DB9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0" name="Group 789">
              <a:extLst>
                <a:ext uri="{FF2B5EF4-FFF2-40B4-BE49-F238E27FC236}">
                  <a16:creationId xmlns:a16="http://schemas.microsoft.com/office/drawing/2014/main" id="{18371B85-44E5-4FF0-8129-A892B8BA4BDF}"/>
                </a:ext>
              </a:extLst>
            </p:cNvPr>
            <p:cNvGrpSpPr/>
            <p:nvPr/>
          </p:nvGrpSpPr>
          <p:grpSpPr>
            <a:xfrm>
              <a:off x="2136149" y="2951692"/>
              <a:ext cx="687004" cy="687004"/>
              <a:chOff x="2193333" y="4964414"/>
              <a:chExt cx="687004" cy="687004"/>
            </a:xfrm>
          </p:grpSpPr>
          <p:sp>
            <p:nvSpPr>
              <p:cNvPr id="916" name="Oval 915">
                <a:extLst>
                  <a:ext uri="{FF2B5EF4-FFF2-40B4-BE49-F238E27FC236}">
                    <a16:creationId xmlns:a16="http://schemas.microsoft.com/office/drawing/2014/main" id="{B5F57469-9253-4F05-A5C4-9995396469F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7" name="Oval 916">
                <a:extLst>
                  <a:ext uri="{FF2B5EF4-FFF2-40B4-BE49-F238E27FC236}">
                    <a16:creationId xmlns:a16="http://schemas.microsoft.com/office/drawing/2014/main" id="{FFE7855A-E6CE-45AD-9959-56BE924562F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8" name="Oval 917">
                <a:extLst>
                  <a:ext uri="{FF2B5EF4-FFF2-40B4-BE49-F238E27FC236}">
                    <a16:creationId xmlns:a16="http://schemas.microsoft.com/office/drawing/2014/main" id="{1C93D90F-C8FA-4811-81A7-3BB6F54A8E9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9" name="Plus 152">
                <a:extLst>
                  <a:ext uri="{FF2B5EF4-FFF2-40B4-BE49-F238E27FC236}">
                    <a16:creationId xmlns:a16="http://schemas.microsoft.com/office/drawing/2014/main" id="{0B9A6A9F-954D-4EB7-8527-709B57CD20A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1" name="Group 790">
              <a:extLst>
                <a:ext uri="{FF2B5EF4-FFF2-40B4-BE49-F238E27FC236}">
                  <a16:creationId xmlns:a16="http://schemas.microsoft.com/office/drawing/2014/main" id="{2FFE16F5-6327-46C9-8CC0-594D9D7C2F2C}"/>
                </a:ext>
              </a:extLst>
            </p:cNvPr>
            <p:cNvGrpSpPr/>
            <p:nvPr/>
          </p:nvGrpSpPr>
          <p:grpSpPr>
            <a:xfrm>
              <a:off x="2672483" y="2796969"/>
              <a:ext cx="687004" cy="687004"/>
              <a:chOff x="2193333" y="4964414"/>
              <a:chExt cx="687004" cy="687004"/>
            </a:xfrm>
          </p:grpSpPr>
          <p:sp>
            <p:nvSpPr>
              <p:cNvPr id="912" name="Oval 911">
                <a:extLst>
                  <a:ext uri="{FF2B5EF4-FFF2-40B4-BE49-F238E27FC236}">
                    <a16:creationId xmlns:a16="http://schemas.microsoft.com/office/drawing/2014/main" id="{5F0BAA6C-AD7D-401D-AABF-9D27F8ADE9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3" name="Oval 912">
                <a:extLst>
                  <a:ext uri="{FF2B5EF4-FFF2-40B4-BE49-F238E27FC236}">
                    <a16:creationId xmlns:a16="http://schemas.microsoft.com/office/drawing/2014/main" id="{7D7CE89D-863B-4F9A-A255-8FAC7C44FA1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4" name="Oval 913">
                <a:extLst>
                  <a:ext uri="{FF2B5EF4-FFF2-40B4-BE49-F238E27FC236}">
                    <a16:creationId xmlns:a16="http://schemas.microsoft.com/office/drawing/2014/main" id="{3011869D-0FCD-41C4-AC9E-374EA494E2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5" name="Plus 148">
                <a:extLst>
                  <a:ext uri="{FF2B5EF4-FFF2-40B4-BE49-F238E27FC236}">
                    <a16:creationId xmlns:a16="http://schemas.microsoft.com/office/drawing/2014/main" id="{0C19492D-D130-43FA-9873-3830F2139BC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2" name="Group 791">
              <a:extLst>
                <a:ext uri="{FF2B5EF4-FFF2-40B4-BE49-F238E27FC236}">
                  <a16:creationId xmlns:a16="http://schemas.microsoft.com/office/drawing/2014/main" id="{E929E279-EB3D-49B8-8B25-56B4FFF7CC31}"/>
                </a:ext>
              </a:extLst>
            </p:cNvPr>
            <p:cNvGrpSpPr/>
            <p:nvPr/>
          </p:nvGrpSpPr>
          <p:grpSpPr>
            <a:xfrm>
              <a:off x="3000291" y="2402143"/>
              <a:ext cx="687004" cy="687004"/>
              <a:chOff x="2193333" y="4964414"/>
              <a:chExt cx="687004" cy="687004"/>
            </a:xfrm>
          </p:grpSpPr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2C24E4C8-5D66-4C8E-A6FF-C9C8AE8D10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441F4C8C-76AD-440C-A17E-A942DB19DF9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0" name="Oval 909">
                <a:extLst>
                  <a:ext uri="{FF2B5EF4-FFF2-40B4-BE49-F238E27FC236}">
                    <a16:creationId xmlns:a16="http://schemas.microsoft.com/office/drawing/2014/main" id="{FDD2A00A-6E52-401A-A79C-92E0BC30C7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1" name="Plus 144">
                <a:extLst>
                  <a:ext uri="{FF2B5EF4-FFF2-40B4-BE49-F238E27FC236}">
                    <a16:creationId xmlns:a16="http://schemas.microsoft.com/office/drawing/2014/main" id="{6AC2A054-2A91-4607-81D7-824CA7BE5F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3" name="Group 792">
              <a:extLst>
                <a:ext uri="{FF2B5EF4-FFF2-40B4-BE49-F238E27FC236}">
                  <a16:creationId xmlns:a16="http://schemas.microsoft.com/office/drawing/2014/main" id="{AC7BBBB9-FEAF-48DE-BA50-EB194D901CDE}"/>
                </a:ext>
              </a:extLst>
            </p:cNvPr>
            <p:cNvGrpSpPr/>
            <p:nvPr/>
          </p:nvGrpSpPr>
          <p:grpSpPr>
            <a:xfrm>
              <a:off x="3569746" y="3322505"/>
              <a:ext cx="687004" cy="687004"/>
              <a:chOff x="2193333" y="4964414"/>
              <a:chExt cx="687004" cy="687004"/>
            </a:xfrm>
          </p:grpSpPr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3FECFE50-5C72-428A-A8DB-2CD1B533B5B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F2DD977B-482A-4C45-A360-54D479AC3B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DFD18A0F-4743-4D92-8B6B-FA0ADFDA209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7" name="Plus 140">
                <a:extLst>
                  <a:ext uri="{FF2B5EF4-FFF2-40B4-BE49-F238E27FC236}">
                    <a16:creationId xmlns:a16="http://schemas.microsoft.com/office/drawing/2014/main" id="{CF1BFCCA-F3E2-477F-BBB6-D3C0FF411FE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4" name="Group 793">
              <a:extLst>
                <a:ext uri="{FF2B5EF4-FFF2-40B4-BE49-F238E27FC236}">
                  <a16:creationId xmlns:a16="http://schemas.microsoft.com/office/drawing/2014/main" id="{5A0417C5-9675-4E92-956F-1B99E7C44334}"/>
                </a:ext>
              </a:extLst>
            </p:cNvPr>
            <p:cNvGrpSpPr/>
            <p:nvPr/>
          </p:nvGrpSpPr>
          <p:grpSpPr>
            <a:xfrm>
              <a:off x="4155126" y="2017505"/>
              <a:ext cx="687004" cy="687004"/>
              <a:chOff x="2193333" y="4964414"/>
              <a:chExt cx="687004" cy="687004"/>
            </a:xfrm>
          </p:grpSpPr>
          <p:sp>
            <p:nvSpPr>
              <p:cNvPr id="900" name="Oval 899">
                <a:extLst>
                  <a:ext uri="{FF2B5EF4-FFF2-40B4-BE49-F238E27FC236}">
                    <a16:creationId xmlns:a16="http://schemas.microsoft.com/office/drawing/2014/main" id="{B7EF0940-33F9-4057-BFC6-E919E9735F8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1" name="Oval 900">
                <a:extLst>
                  <a:ext uri="{FF2B5EF4-FFF2-40B4-BE49-F238E27FC236}">
                    <a16:creationId xmlns:a16="http://schemas.microsoft.com/office/drawing/2014/main" id="{90B9347B-106B-427A-A797-FCFC97EDB0D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15641689-85A5-4D53-82BB-942F4161FD0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3" name="Plus 136">
                <a:extLst>
                  <a:ext uri="{FF2B5EF4-FFF2-40B4-BE49-F238E27FC236}">
                    <a16:creationId xmlns:a16="http://schemas.microsoft.com/office/drawing/2014/main" id="{749A3124-2FC4-4DC8-8A7D-EFFAE280CE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5" name="Group 794">
              <a:extLst>
                <a:ext uri="{FF2B5EF4-FFF2-40B4-BE49-F238E27FC236}">
                  <a16:creationId xmlns:a16="http://schemas.microsoft.com/office/drawing/2014/main" id="{0B381632-15E3-4ED2-9C28-D1E12BCEF75F}"/>
                </a:ext>
              </a:extLst>
            </p:cNvPr>
            <p:cNvGrpSpPr/>
            <p:nvPr/>
          </p:nvGrpSpPr>
          <p:grpSpPr>
            <a:xfrm>
              <a:off x="4435955" y="2169825"/>
              <a:ext cx="687004" cy="687004"/>
              <a:chOff x="2193333" y="4964414"/>
              <a:chExt cx="687004" cy="687004"/>
            </a:xfrm>
          </p:grpSpPr>
          <p:sp>
            <p:nvSpPr>
              <p:cNvPr id="896" name="Oval 895">
                <a:extLst>
                  <a:ext uri="{FF2B5EF4-FFF2-40B4-BE49-F238E27FC236}">
                    <a16:creationId xmlns:a16="http://schemas.microsoft.com/office/drawing/2014/main" id="{6045A901-5A96-4980-8C7C-3C4D8099C8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7" name="Oval 896">
                <a:extLst>
                  <a:ext uri="{FF2B5EF4-FFF2-40B4-BE49-F238E27FC236}">
                    <a16:creationId xmlns:a16="http://schemas.microsoft.com/office/drawing/2014/main" id="{B93B12E4-3620-4414-B552-191CF7E9373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8" name="Oval 897">
                <a:extLst>
                  <a:ext uri="{FF2B5EF4-FFF2-40B4-BE49-F238E27FC236}">
                    <a16:creationId xmlns:a16="http://schemas.microsoft.com/office/drawing/2014/main" id="{AE090965-57E5-43F9-B020-B347EF1BCDA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9" name="Plus 132">
                <a:extLst>
                  <a:ext uri="{FF2B5EF4-FFF2-40B4-BE49-F238E27FC236}">
                    <a16:creationId xmlns:a16="http://schemas.microsoft.com/office/drawing/2014/main" id="{17F72FC4-9EDE-412F-ADF1-1542DF9A6A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6" name="Group 795">
              <a:extLst>
                <a:ext uri="{FF2B5EF4-FFF2-40B4-BE49-F238E27FC236}">
                  <a16:creationId xmlns:a16="http://schemas.microsoft.com/office/drawing/2014/main" id="{AE3BFB52-FBF0-471D-BA1C-FD4F8622BB79}"/>
                </a:ext>
              </a:extLst>
            </p:cNvPr>
            <p:cNvGrpSpPr/>
            <p:nvPr/>
          </p:nvGrpSpPr>
          <p:grpSpPr>
            <a:xfrm>
              <a:off x="5021089" y="2178622"/>
              <a:ext cx="687004" cy="687004"/>
              <a:chOff x="2193333" y="4964414"/>
              <a:chExt cx="687004" cy="687004"/>
            </a:xfrm>
          </p:grpSpPr>
          <p:sp>
            <p:nvSpPr>
              <p:cNvPr id="892" name="Oval 891">
                <a:extLst>
                  <a:ext uri="{FF2B5EF4-FFF2-40B4-BE49-F238E27FC236}">
                    <a16:creationId xmlns:a16="http://schemas.microsoft.com/office/drawing/2014/main" id="{00B693BD-54CC-4B35-A62F-731CE2911B0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3" name="Oval 892">
                <a:extLst>
                  <a:ext uri="{FF2B5EF4-FFF2-40B4-BE49-F238E27FC236}">
                    <a16:creationId xmlns:a16="http://schemas.microsoft.com/office/drawing/2014/main" id="{470F25D3-D2E9-45CC-823E-3D971B35EBB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4" name="Oval 893">
                <a:extLst>
                  <a:ext uri="{FF2B5EF4-FFF2-40B4-BE49-F238E27FC236}">
                    <a16:creationId xmlns:a16="http://schemas.microsoft.com/office/drawing/2014/main" id="{CB2F81FF-1486-46FD-A4BC-38A416DD03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5" name="Plus 128">
                <a:extLst>
                  <a:ext uri="{FF2B5EF4-FFF2-40B4-BE49-F238E27FC236}">
                    <a16:creationId xmlns:a16="http://schemas.microsoft.com/office/drawing/2014/main" id="{96430D3C-D1CC-4CEC-B788-CDFF7CCDF39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7" name="Group 796">
              <a:extLst>
                <a:ext uri="{FF2B5EF4-FFF2-40B4-BE49-F238E27FC236}">
                  <a16:creationId xmlns:a16="http://schemas.microsoft.com/office/drawing/2014/main" id="{7DC142EA-EB54-47F8-B1DA-A97A5611D0A4}"/>
                </a:ext>
              </a:extLst>
            </p:cNvPr>
            <p:cNvGrpSpPr/>
            <p:nvPr/>
          </p:nvGrpSpPr>
          <p:grpSpPr>
            <a:xfrm>
              <a:off x="5317351" y="1657358"/>
              <a:ext cx="687004" cy="687004"/>
              <a:chOff x="2193333" y="4964414"/>
              <a:chExt cx="687004" cy="687004"/>
            </a:xfrm>
          </p:grpSpPr>
          <p:sp>
            <p:nvSpPr>
              <p:cNvPr id="888" name="Oval 887">
                <a:extLst>
                  <a:ext uri="{FF2B5EF4-FFF2-40B4-BE49-F238E27FC236}">
                    <a16:creationId xmlns:a16="http://schemas.microsoft.com/office/drawing/2014/main" id="{F4796686-69CA-4BFA-8605-06995A283DC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9" name="Oval 888">
                <a:extLst>
                  <a:ext uri="{FF2B5EF4-FFF2-40B4-BE49-F238E27FC236}">
                    <a16:creationId xmlns:a16="http://schemas.microsoft.com/office/drawing/2014/main" id="{0828E717-33AD-4275-AFAC-41E0A9179EA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0" name="Oval 889">
                <a:extLst>
                  <a:ext uri="{FF2B5EF4-FFF2-40B4-BE49-F238E27FC236}">
                    <a16:creationId xmlns:a16="http://schemas.microsoft.com/office/drawing/2014/main" id="{546D1DBE-F0D5-4105-B9AD-AF3D877D374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1" name="Plus 124">
                <a:extLst>
                  <a:ext uri="{FF2B5EF4-FFF2-40B4-BE49-F238E27FC236}">
                    <a16:creationId xmlns:a16="http://schemas.microsoft.com/office/drawing/2014/main" id="{C4E2136F-8967-46D3-B57D-672CF2E3EE1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8" name="Group 797">
              <a:extLst>
                <a:ext uri="{FF2B5EF4-FFF2-40B4-BE49-F238E27FC236}">
                  <a16:creationId xmlns:a16="http://schemas.microsoft.com/office/drawing/2014/main" id="{E34A19F8-D68E-428D-8DE3-8B8C2C0EA762}"/>
                </a:ext>
              </a:extLst>
            </p:cNvPr>
            <p:cNvGrpSpPr/>
            <p:nvPr/>
          </p:nvGrpSpPr>
          <p:grpSpPr>
            <a:xfrm>
              <a:off x="5596645" y="2017505"/>
              <a:ext cx="687004" cy="687004"/>
              <a:chOff x="2193333" y="4964414"/>
              <a:chExt cx="687004" cy="687004"/>
            </a:xfrm>
          </p:grpSpPr>
          <p:sp>
            <p:nvSpPr>
              <p:cNvPr id="884" name="Oval 883">
                <a:extLst>
                  <a:ext uri="{FF2B5EF4-FFF2-40B4-BE49-F238E27FC236}">
                    <a16:creationId xmlns:a16="http://schemas.microsoft.com/office/drawing/2014/main" id="{8CED2A62-E34E-401D-8C67-9B682E161B7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5" name="Oval 884">
                <a:extLst>
                  <a:ext uri="{FF2B5EF4-FFF2-40B4-BE49-F238E27FC236}">
                    <a16:creationId xmlns:a16="http://schemas.microsoft.com/office/drawing/2014/main" id="{FF709C2D-9DD7-4032-87A0-755EB9896EF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6" name="Oval 885">
                <a:extLst>
                  <a:ext uri="{FF2B5EF4-FFF2-40B4-BE49-F238E27FC236}">
                    <a16:creationId xmlns:a16="http://schemas.microsoft.com/office/drawing/2014/main" id="{363F520B-63C4-4692-8DB9-C954A2C0943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7" name="Plus 120">
                <a:extLst>
                  <a:ext uri="{FF2B5EF4-FFF2-40B4-BE49-F238E27FC236}">
                    <a16:creationId xmlns:a16="http://schemas.microsoft.com/office/drawing/2014/main" id="{1560780C-1A08-4169-9140-81FB8C7FA53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99" name="Group 798">
              <a:extLst>
                <a:ext uri="{FF2B5EF4-FFF2-40B4-BE49-F238E27FC236}">
                  <a16:creationId xmlns:a16="http://schemas.microsoft.com/office/drawing/2014/main" id="{3F4AB961-405E-4A9C-B824-49E8130E6FDF}"/>
                </a:ext>
              </a:extLst>
            </p:cNvPr>
            <p:cNvGrpSpPr/>
            <p:nvPr/>
          </p:nvGrpSpPr>
          <p:grpSpPr>
            <a:xfrm>
              <a:off x="5908557" y="2184674"/>
              <a:ext cx="687004" cy="687004"/>
              <a:chOff x="2193333" y="4964414"/>
              <a:chExt cx="687004" cy="687004"/>
            </a:xfrm>
          </p:grpSpPr>
          <p:sp>
            <p:nvSpPr>
              <p:cNvPr id="880" name="Oval 879">
                <a:extLst>
                  <a:ext uri="{FF2B5EF4-FFF2-40B4-BE49-F238E27FC236}">
                    <a16:creationId xmlns:a16="http://schemas.microsoft.com/office/drawing/2014/main" id="{870B1E78-6DB7-46AF-8EE3-2F1565BC844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1" name="Oval 880">
                <a:extLst>
                  <a:ext uri="{FF2B5EF4-FFF2-40B4-BE49-F238E27FC236}">
                    <a16:creationId xmlns:a16="http://schemas.microsoft.com/office/drawing/2014/main" id="{600215CB-05C0-48FF-87B7-8803797AB0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2" name="Oval 881">
                <a:extLst>
                  <a:ext uri="{FF2B5EF4-FFF2-40B4-BE49-F238E27FC236}">
                    <a16:creationId xmlns:a16="http://schemas.microsoft.com/office/drawing/2014/main" id="{94CE0B12-4293-4378-8B39-082056485E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3" name="Plus 116">
                <a:extLst>
                  <a:ext uri="{FF2B5EF4-FFF2-40B4-BE49-F238E27FC236}">
                    <a16:creationId xmlns:a16="http://schemas.microsoft.com/office/drawing/2014/main" id="{BBD2CB03-89E8-49B1-AC01-3B80E0279F0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0" name="Group 799">
              <a:extLst>
                <a:ext uri="{FF2B5EF4-FFF2-40B4-BE49-F238E27FC236}">
                  <a16:creationId xmlns:a16="http://schemas.microsoft.com/office/drawing/2014/main" id="{C9ED0320-FF26-47A9-BB9D-063F007908F8}"/>
                </a:ext>
              </a:extLst>
            </p:cNvPr>
            <p:cNvGrpSpPr/>
            <p:nvPr/>
          </p:nvGrpSpPr>
          <p:grpSpPr>
            <a:xfrm>
              <a:off x="6430005" y="2190245"/>
              <a:ext cx="687004" cy="687004"/>
              <a:chOff x="2193333" y="4964414"/>
              <a:chExt cx="687004" cy="687004"/>
            </a:xfrm>
          </p:grpSpPr>
          <p:sp>
            <p:nvSpPr>
              <p:cNvPr id="876" name="Oval 875">
                <a:extLst>
                  <a:ext uri="{FF2B5EF4-FFF2-40B4-BE49-F238E27FC236}">
                    <a16:creationId xmlns:a16="http://schemas.microsoft.com/office/drawing/2014/main" id="{220A2D91-D26A-41F6-9B8F-AA5EA8CB88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7" name="Oval 876">
                <a:extLst>
                  <a:ext uri="{FF2B5EF4-FFF2-40B4-BE49-F238E27FC236}">
                    <a16:creationId xmlns:a16="http://schemas.microsoft.com/office/drawing/2014/main" id="{1EF6C2D3-D6A2-4952-AD05-467ACBE510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8" name="Oval 877">
                <a:extLst>
                  <a:ext uri="{FF2B5EF4-FFF2-40B4-BE49-F238E27FC236}">
                    <a16:creationId xmlns:a16="http://schemas.microsoft.com/office/drawing/2014/main" id="{17BDE108-5022-4FCA-8609-C4782401038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9" name="Plus 112">
                <a:extLst>
                  <a:ext uri="{FF2B5EF4-FFF2-40B4-BE49-F238E27FC236}">
                    <a16:creationId xmlns:a16="http://schemas.microsoft.com/office/drawing/2014/main" id="{7402DD19-1733-4F63-9B5F-E07D6F0DD88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1" name="Group 800">
              <a:extLst>
                <a:ext uri="{FF2B5EF4-FFF2-40B4-BE49-F238E27FC236}">
                  <a16:creationId xmlns:a16="http://schemas.microsoft.com/office/drawing/2014/main" id="{9B2CA243-089E-45B8-BE7A-BBC41F6559BD}"/>
                </a:ext>
              </a:extLst>
            </p:cNvPr>
            <p:cNvGrpSpPr/>
            <p:nvPr/>
          </p:nvGrpSpPr>
          <p:grpSpPr>
            <a:xfrm>
              <a:off x="6760067" y="1985354"/>
              <a:ext cx="687004" cy="687004"/>
              <a:chOff x="2193333" y="4964414"/>
              <a:chExt cx="687004" cy="687004"/>
            </a:xfrm>
          </p:grpSpPr>
          <p:sp>
            <p:nvSpPr>
              <p:cNvPr id="872" name="Oval 871">
                <a:extLst>
                  <a:ext uri="{FF2B5EF4-FFF2-40B4-BE49-F238E27FC236}">
                    <a16:creationId xmlns:a16="http://schemas.microsoft.com/office/drawing/2014/main" id="{A86EB616-E0EB-4B76-8611-8059A0772B1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3" name="Oval 872">
                <a:extLst>
                  <a:ext uri="{FF2B5EF4-FFF2-40B4-BE49-F238E27FC236}">
                    <a16:creationId xmlns:a16="http://schemas.microsoft.com/office/drawing/2014/main" id="{CC1EC755-FB71-420E-B1E8-D84B9BEC26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4" name="Oval 873">
                <a:extLst>
                  <a:ext uri="{FF2B5EF4-FFF2-40B4-BE49-F238E27FC236}">
                    <a16:creationId xmlns:a16="http://schemas.microsoft.com/office/drawing/2014/main" id="{99A88238-8A55-4B58-9B7D-C719E3B281D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5" name="Plus 108">
                <a:extLst>
                  <a:ext uri="{FF2B5EF4-FFF2-40B4-BE49-F238E27FC236}">
                    <a16:creationId xmlns:a16="http://schemas.microsoft.com/office/drawing/2014/main" id="{4DD5E1AD-A26D-4A3B-BCD0-576237DF38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2" name="Group 801">
              <a:extLst>
                <a:ext uri="{FF2B5EF4-FFF2-40B4-BE49-F238E27FC236}">
                  <a16:creationId xmlns:a16="http://schemas.microsoft.com/office/drawing/2014/main" id="{9C8B9252-AA08-4186-8EED-55E628492602}"/>
                </a:ext>
              </a:extLst>
            </p:cNvPr>
            <p:cNvGrpSpPr/>
            <p:nvPr/>
          </p:nvGrpSpPr>
          <p:grpSpPr>
            <a:xfrm>
              <a:off x="7074587" y="2342354"/>
              <a:ext cx="687004" cy="687004"/>
              <a:chOff x="2193333" y="4964414"/>
              <a:chExt cx="687004" cy="687004"/>
            </a:xfrm>
          </p:grpSpPr>
          <p:sp>
            <p:nvSpPr>
              <p:cNvPr id="868" name="Oval 867">
                <a:extLst>
                  <a:ext uri="{FF2B5EF4-FFF2-40B4-BE49-F238E27FC236}">
                    <a16:creationId xmlns:a16="http://schemas.microsoft.com/office/drawing/2014/main" id="{35CCF41C-0B4B-4B86-A9B0-3EF0F12AD2E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9" name="Oval 868">
                <a:extLst>
                  <a:ext uri="{FF2B5EF4-FFF2-40B4-BE49-F238E27FC236}">
                    <a16:creationId xmlns:a16="http://schemas.microsoft.com/office/drawing/2014/main" id="{DCD461BA-A6CB-4563-B604-81759FB3D51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0" name="Oval 869">
                <a:extLst>
                  <a:ext uri="{FF2B5EF4-FFF2-40B4-BE49-F238E27FC236}">
                    <a16:creationId xmlns:a16="http://schemas.microsoft.com/office/drawing/2014/main" id="{4D31B05C-C3C9-413F-A838-FB69080C8E4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1" name="Plus 104">
                <a:extLst>
                  <a:ext uri="{FF2B5EF4-FFF2-40B4-BE49-F238E27FC236}">
                    <a16:creationId xmlns:a16="http://schemas.microsoft.com/office/drawing/2014/main" id="{C5767BE2-E2E6-4196-90E6-DEB128931D4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3" name="Group 802">
              <a:extLst>
                <a:ext uri="{FF2B5EF4-FFF2-40B4-BE49-F238E27FC236}">
                  <a16:creationId xmlns:a16="http://schemas.microsoft.com/office/drawing/2014/main" id="{520B7109-6FC0-4B72-8B84-39EEC6785651}"/>
                </a:ext>
              </a:extLst>
            </p:cNvPr>
            <p:cNvGrpSpPr/>
            <p:nvPr/>
          </p:nvGrpSpPr>
          <p:grpSpPr>
            <a:xfrm>
              <a:off x="7632283" y="3259489"/>
              <a:ext cx="687004" cy="687004"/>
              <a:chOff x="2193333" y="4964414"/>
              <a:chExt cx="687004" cy="687004"/>
            </a:xfrm>
          </p:grpSpPr>
          <p:sp>
            <p:nvSpPr>
              <p:cNvPr id="864" name="Oval 863">
                <a:extLst>
                  <a:ext uri="{FF2B5EF4-FFF2-40B4-BE49-F238E27FC236}">
                    <a16:creationId xmlns:a16="http://schemas.microsoft.com/office/drawing/2014/main" id="{2E796CBB-714B-450A-926B-841A8C322D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5" name="Oval 864">
                <a:extLst>
                  <a:ext uri="{FF2B5EF4-FFF2-40B4-BE49-F238E27FC236}">
                    <a16:creationId xmlns:a16="http://schemas.microsoft.com/office/drawing/2014/main" id="{BC9B266A-A5AF-43D8-A35D-C54FF091388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6" name="Oval 865">
                <a:extLst>
                  <a:ext uri="{FF2B5EF4-FFF2-40B4-BE49-F238E27FC236}">
                    <a16:creationId xmlns:a16="http://schemas.microsoft.com/office/drawing/2014/main" id="{3AA6B02A-0637-4C25-96AF-7AD30597D7F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7" name="Plus 100">
                <a:extLst>
                  <a:ext uri="{FF2B5EF4-FFF2-40B4-BE49-F238E27FC236}">
                    <a16:creationId xmlns:a16="http://schemas.microsoft.com/office/drawing/2014/main" id="{AA5C4A03-402D-40F7-ADFF-8B527EF566A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4" name="Group 803">
              <a:extLst>
                <a:ext uri="{FF2B5EF4-FFF2-40B4-BE49-F238E27FC236}">
                  <a16:creationId xmlns:a16="http://schemas.microsoft.com/office/drawing/2014/main" id="{8C525134-5883-4B18-8158-4B0E56D99605}"/>
                </a:ext>
              </a:extLst>
            </p:cNvPr>
            <p:cNvGrpSpPr/>
            <p:nvPr/>
          </p:nvGrpSpPr>
          <p:grpSpPr>
            <a:xfrm>
              <a:off x="8205018" y="1273375"/>
              <a:ext cx="687004" cy="687004"/>
              <a:chOff x="2193333" y="4964414"/>
              <a:chExt cx="687004" cy="687004"/>
            </a:xfrm>
          </p:grpSpPr>
          <p:sp>
            <p:nvSpPr>
              <p:cNvPr id="860" name="Oval 859">
                <a:extLst>
                  <a:ext uri="{FF2B5EF4-FFF2-40B4-BE49-F238E27FC236}">
                    <a16:creationId xmlns:a16="http://schemas.microsoft.com/office/drawing/2014/main" id="{8A37A2DB-020F-4F55-A4BB-0E65C84B69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1" name="Oval 860">
                <a:extLst>
                  <a:ext uri="{FF2B5EF4-FFF2-40B4-BE49-F238E27FC236}">
                    <a16:creationId xmlns:a16="http://schemas.microsoft.com/office/drawing/2014/main" id="{8A8E3AF7-A746-491F-8EA6-52AFDC4E443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2" name="Oval 861">
                <a:extLst>
                  <a:ext uri="{FF2B5EF4-FFF2-40B4-BE49-F238E27FC236}">
                    <a16:creationId xmlns:a16="http://schemas.microsoft.com/office/drawing/2014/main" id="{15FD8DBC-CD2C-4FD8-B7ED-A7C15E79ED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3" name="Plus 96">
                <a:extLst>
                  <a:ext uri="{FF2B5EF4-FFF2-40B4-BE49-F238E27FC236}">
                    <a16:creationId xmlns:a16="http://schemas.microsoft.com/office/drawing/2014/main" id="{55AB7CB1-1B6E-4A65-8C0F-CB28BED552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5" name="Group 804">
              <a:extLst>
                <a:ext uri="{FF2B5EF4-FFF2-40B4-BE49-F238E27FC236}">
                  <a16:creationId xmlns:a16="http://schemas.microsoft.com/office/drawing/2014/main" id="{89692A01-6104-46E8-80CF-71A61F19D3BB}"/>
                </a:ext>
              </a:extLst>
            </p:cNvPr>
            <p:cNvGrpSpPr/>
            <p:nvPr/>
          </p:nvGrpSpPr>
          <p:grpSpPr>
            <a:xfrm>
              <a:off x="8488904" y="3268873"/>
              <a:ext cx="687004" cy="687004"/>
              <a:chOff x="2193333" y="4964414"/>
              <a:chExt cx="687004" cy="687004"/>
            </a:xfrm>
          </p:grpSpPr>
          <p:sp>
            <p:nvSpPr>
              <p:cNvPr id="856" name="Oval 855">
                <a:extLst>
                  <a:ext uri="{FF2B5EF4-FFF2-40B4-BE49-F238E27FC236}">
                    <a16:creationId xmlns:a16="http://schemas.microsoft.com/office/drawing/2014/main" id="{12538208-4B51-475D-959C-82E25C5A5E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7" name="Oval 856">
                <a:extLst>
                  <a:ext uri="{FF2B5EF4-FFF2-40B4-BE49-F238E27FC236}">
                    <a16:creationId xmlns:a16="http://schemas.microsoft.com/office/drawing/2014/main" id="{8FA40006-1D1D-4F2F-8414-CB0EC4D65A2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8" name="Oval 857">
                <a:extLst>
                  <a:ext uri="{FF2B5EF4-FFF2-40B4-BE49-F238E27FC236}">
                    <a16:creationId xmlns:a16="http://schemas.microsoft.com/office/drawing/2014/main" id="{FE0DED9A-FD6D-4726-987A-5B8AAA33C09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9" name="Plus 92">
                <a:extLst>
                  <a:ext uri="{FF2B5EF4-FFF2-40B4-BE49-F238E27FC236}">
                    <a16:creationId xmlns:a16="http://schemas.microsoft.com/office/drawing/2014/main" id="{DEA1D6F6-AF8A-43F5-B774-6EAAB4E02F5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6" name="Group 805">
              <a:extLst>
                <a:ext uri="{FF2B5EF4-FFF2-40B4-BE49-F238E27FC236}">
                  <a16:creationId xmlns:a16="http://schemas.microsoft.com/office/drawing/2014/main" id="{78E54E13-84A9-4ECA-B377-77CE1ED06C00}"/>
                </a:ext>
              </a:extLst>
            </p:cNvPr>
            <p:cNvGrpSpPr/>
            <p:nvPr/>
          </p:nvGrpSpPr>
          <p:grpSpPr>
            <a:xfrm>
              <a:off x="9092111" y="2023859"/>
              <a:ext cx="687004" cy="687004"/>
              <a:chOff x="2193333" y="4964414"/>
              <a:chExt cx="687004" cy="687004"/>
            </a:xfrm>
          </p:grpSpPr>
          <p:sp>
            <p:nvSpPr>
              <p:cNvPr id="852" name="Oval 851">
                <a:extLst>
                  <a:ext uri="{FF2B5EF4-FFF2-40B4-BE49-F238E27FC236}">
                    <a16:creationId xmlns:a16="http://schemas.microsoft.com/office/drawing/2014/main" id="{7EBD0FDF-01F1-4525-86C6-E305A33104D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3" name="Oval 852">
                <a:extLst>
                  <a:ext uri="{FF2B5EF4-FFF2-40B4-BE49-F238E27FC236}">
                    <a16:creationId xmlns:a16="http://schemas.microsoft.com/office/drawing/2014/main" id="{152B93F0-D5D6-467B-8871-DD95868DE04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4" name="Oval 853">
                <a:extLst>
                  <a:ext uri="{FF2B5EF4-FFF2-40B4-BE49-F238E27FC236}">
                    <a16:creationId xmlns:a16="http://schemas.microsoft.com/office/drawing/2014/main" id="{4078E52C-1136-49AA-86F6-5FE9F587940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5" name="Plus 88">
                <a:extLst>
                  <a:ext uri="{FF2B5EF4-FFF2-40B4-BE49-F238E27FC236}">
                    <a16:creationId xmlns:a16="http://schemas.microsoft.com/office/drawing/2014/main" id="{463FAE95-EBDD-41D4-A564-9A43F0985A2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52B8F8E4-EDFA-474F-BFFD-F0B83693CF96}"/>
                </a:ext>
              </a:extLst>
            </p:cNvPr>
            <p:cNvGrpSpPr/>
            <p:nvPr/>
          </p:nvGrpSpPr>
          <p:grpSpPr>
            <a:xfrm>
              <a:off x="9357861" y="2144530"/>
              <a:ext cx="687004" cy="687004"/>
              <a:chOff x="2193333" y="4964414"/>
              <a:chExt cx="687004" cy="687004"/>
            </a:xfrm>
          </p:grpSpPr>
          <p:sp>
            <p:nvSpPr>
              <p:cNvPr id="848" name="Oval 847">
                <a:extLst>
                  <a:ext uri="{FF2B5EF4-FFF2-40B4-BE49-F238E27FC236}">
                    <a16:creationId xmlns:a16="http://schemas.microsoft.com/office/drawing/2014/main" id="{5EF20C0C-32BE-4156-8221-0E26A8AFD0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9" name="Oval 848">
                <a:extLst>
                  <a:ext uri="{FF2B5EF4-FFF2-40B4-BE49-F238E27FC236}">
                    <a16:creationId xmlns:a16="http://schemas.microsoft.com/office/drawing/2014/main" id="{027E95D8-6130-45BC-ADD3-C44B13791D1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0" name="Oval 849">
                <a:extLst>
                  <a:ext uri="{FF2B5EF4-FFF2-40B4-BE49-F238E27FC236}">
                    <a16:creationId xmlns:a16="http://schemas.microsoft.com/office/drawing/2014/main" id="{19D16A88-F19E-46B0-9959-0CAF0D59488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1" name="Plus 84">
                <a:extLst>
                  <a:ext uri="{FF2B5EF4-FFF2-40B4-BE49-F238E27FC236}">
                    <a16:creationId xmlns:a16="http://schemas.microsoft.com/office/drawing/2014/main" id="{DE084852-5B34-4F3C-AEA5-3C1169B49AB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8" name="Group 807">
              <a:extLst>
                <a:ext uri="{FF2B5EF4-FFF2-40B4-BE49-F238E27FC236}">
                  <a16:creationId xmlns:a16="http://schemas.microsoft.com/office/drawing/2014/main" id="{560F03BB-2BA9-4B7E-A37F-6B927A8588D8}"/>
                </a:ext>
              </a:extLst>
            </p:cNvPr>
            <p:cNvGrpSpPr/>
            <p:nvPr/>
          </p:nvGrpSpPr>
          <p:grpSpPr>
            <a:xfrm>
              <a:off x="9672370" y="3724716"/>
              <a:ext cx="687004" cy="687004"/>
              <a:chOff x="2193333" y="4964414"/>
              <a:chExt cx="687004" cy="687004"/>
            </a:xfrm>
          </p:grpSpPr>
          <p:sp>
            <p:nvSpPr>
              <p:cNvPr id="844" name="Oval 843">
                <a:extLst>
                  <a:ext uri="{FF2B5EF4-FFF2-40B4-BE49-F238E27FC236}">
                    <a16:creationId xmlns:a16="http://schemas.microsoft.com/office/drawing/2014/main" id="{E2674603-D966-4418-ABCA-F637096D549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5" name="Oval 844">
                <a:extLst>
                  <a:ext uri="{FF2B5EF4-FFF2-40B4-BE49-F238E27FC236}">
                    <a16:creationId xmlns:a16="http://schemas.microsoft.com/office/drawing/2014/main" id="{E9511C7A-61C9-4137-9911-001F024EFD9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6" name="Oval 845">
                <a:extLst>
                  <a:ext uri="{FF2B5EF4-FFF2-40B4-BE49-F238E27FC236}">
                    <a16:creationId xmlns:a16="http://schemas.microsoft.com/office/drawing/2014/main" id="{DF2384E3-7598-463E-BE4D-EAE70F61980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7" name="Plus 80">
                <a:extLst>
                  <a:ext uri="{FF2B5EF4-FFF2-40B4-BE49-F238E27FC236}">
                    <a16:creationId xmlns:a16="http://schemas.microsoft.com/office/drawing/2014/main" id="{207521CE-6BBE-4937-B88F-8FD72807390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09" name="Group 808">
              <a:extLst>
                <a:ext uri="{FF2B5EF4-FFF2-40B4-BE49-F238E27FC236}">
                  <a16:creationId xmlns:a16="http://schemas.microsoft.com/office/drawing/2014/main" id="{B84698EB-DA97-4650-AE39-CA284AE73095}"/>
                </a:ext>
              </a:extLst>
            </p:cNvPr>
            <p:cNvGrpSpPr/>
            <p:nvPr/>
          </p:nvGrpSpPr>
          <p:grpSpPr>
            <a:xfrm>
              <a:off x="9951796" y="1294244"/>
              <a:ext cx="687004" cy="687004"/>
              <a:chOff x="2193333" y="4964414"/>
              <a:chExt cx="687004" cy="687004"/>
            </a:xfrm>
          </p:grpSpPr>
          <p:sp>
            <p:nvSpPr>
              <p:cNvPr id="840" name="Oval 839">
                <a:extLst>
                  <a:ext uri="{FF2B5EF4-FFF2-40B4-BE49-F238E27FC236}">
                    <a16:creationId xmlns:a16="http://schemas.microsoft.com/office/drawing/2014/main" id="{E12AD3CA-6735-4999-892F-140F0FCA6A9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1" name="Oval 840">
                <a:extLst>
                  <a:ext uri="{FF2B5EF4-FFF2-40B4-BE49-F238E27FC236}">
                    <a16:creationId xmlns:a16="http://schemas.microsoft.com/office/drawing/2014/main" id="{BB10F661-E795-4511-A689-AAC2398FE4A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2" name="Oval 841">
                <a:extLst>
                  <a:ext uri="{FF2B5EF4-FFF2-40B4-BE49-F238E27FC236}">
                    <a16:creationId xmlns:a16="http://schemas.microsoft.com/office/drawing/2014/main" id="{028E9857-475C-47C3-99CD-D77C42DC58D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3" name="Plus 76">
                <a:extLst>
                  <a:ext uri="{FF2B5EF4-FFF2-40B4-BE49-F238E27FC236}">
                    <a16:creationId xmlns:a16="http://schemas.microsoft.com/office/drawing/2014/main" id="{FFFF4EFE-F42C-470F-A5D4-C9999BBC370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10" name="Group 809">
              <a:extLst>
                <a:ext uri="{FF2B5EF4-FFF2-40B4-BE49-F238E27FC236}">
                  <a16:creationId xmlns:a16="http://schemas.microsoft.com/office/drawing/2014/main" id="{D38BB377-A00E-475A-B3DA-45DAA1B527CF}"/>
                </a:ext>
              </a:extLst>
            </p:cNvPr>
            <p:cNvGrpSpPr/>
            <p:nvPr/>
          </p:nvGrpSpPr>
          <p:grpSpPr>
            <a:xfrm>
              <a:off x="10230511" y="1655350"/>
              <a:ext cx="687004" cy="687004"/>
              <a:chOff x="2193333" y="4964414"/>
              <a:chExt cx="687004" cy="687004"/>
            </a:xfrm>
          </p:grpSpPr>
          <p:sp>
            <p:nvSpPr>
              <p:cNvPr id="836" name="Oval 835">
                <a:extLst>
                  <a:ext uri="{FF2B5EF4-FFF2-40B4-BE49-F238E27FC236}">
                    <a16:creationId xmlns:a16="http://schemas.microsoft.com/office/drawing/2014/main" id="{622F4851-6C73-4411-B642-E30ED3CD9BE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7" name="Oval 836">
                <a:extLst>
                  <a:ext uri="{FF2B5EF4-FFF2-40B4-BE49-F238E27FC236}">
                    <a16:creationId xmlns:a16="http://schemas.microsoft.com/office/drawing/2014/main" id="{4C591069-8732-4308-9EA3-6BAA6E2375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8" name="Oval 837">
                <a:extLst>
                  <a:ext uri="{FF2B5EF4-FFF2-40B4-BE49-F238E27FC236}">
                    <a16:creationId xmlns:a16="http://schemas.microsoft.com/office/drawing/2014/main" id="{C46CF5B7-B2EB-4C13-A485-A048474BD69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9" name="Plus 72">
                <a:extLst>
                  <a:ext uri="{FF2B5EF4-FFF2-40B4-BE49-F238E27FC236}">
                    <a16:creationId xmlns:a16="http://schemas.microsoft.com/office/drawing/2014/main" id="{24101C2C-6C2E-4EF7-B5B1-D8660E6E576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11" name="Group 810">
              <a:extLst>
                <a:ext uri="{FF2B5EF4-FFF2-40B4-BE49-F238E27FC236}">
                  <a16:creationId xmlns:a16="http://schemas.microsoft.com/office/drawing/2014/main" id="{6732FFBE-B0F4-4B08-9B1E-3C1274A5F437}"/>
                </a:ext>
              </a:extLst>
            </p:cNvPr>
            <p:cNvGrpSpPr/>
            <p:nvPr/>
          </p:nvGrpSpPr>
          <p:grpSpPr>
            <a:xfrm>
              <a:off x="10505207" y="2577857"/>
              <a:ext cx="687004" cy="687004"/>
              <a:chOff x="2193333" y="4964414"/>
              <a:chExt cx="687004" cy="687004"/>
            </a:xfrm>
          </p:grpSpPr>
          <p:sp>
            <p:nvSpPr>
              <p:cNvPr id="832" name="Oval 831">
                <a:extLst>
                  <a:ext uri="{FF2B5EF4-FFF2-40B4-BE49-F238E27FC236}">
                    <a16:creationId xmlns:a16="http://schemas.microsoft.com/office/drawing/2014/main" id="{3B868E0A-1750-42BB-9103-6026980E962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3" name="Oval 832">
                <a:extLst>
                  <a:ext uri="{FF2B5EF4-FFF2-40B4-BE49-F238E27FC236}">
                    <a16:creationId xmlns:a16="http://schemas.microsoft.com/office/drawing/2014/main" id="{9373FCD5-0518-481E-8016-7BA9F7579A1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4" name="Oval 833">
                <a:extLst>
                  <a:ext uri="{FF2B5EF4-FFF2-40B4-BE49-F238E27FC236}">
                    <a16:creationId xmlns:a16="http://schemas.microsoft.com/office/drawing/2014/main" id="{709C5478-96C6-4428-A989-DE31B3BD78F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5" name="Plus 68">
                <a:extLst>
                  <a:ext uri="{FF2B5EF4-FFF2-40B4-BE49-F238E27FC236}">
                    <a16:creationId xmlns:a16="http://schemas.microsoft.com/office/drawing/2014/main" id="{11A34742-60B3-49E4-955C-F410329955B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12" name="Group 811">
              <a:extLst>
                <a:ext uri="{FF2B5EF4-FFF2-40B4-BE49-F238E27FC236}">
                  <a16:creationId xmlns:a16="http://schemas.microsoft.com/office/drawing/2014/main" id="{7E520AA5-B672-48C5-B00D-0BA46DA7F7F3}"/>
                </a:ext>
              </a:extLst>
            </p:cNvPr>
            <p:cNvGrpSpPr/>
            <p:nvPr/>
          </p:nvGrpSpPr>
          <p:grpSpPr>
            <a:xfrm>
              <a:off x="10789093" y="3450964"/>
              <a:ext cx="687004" cy="687004"/>
              <a:chOff x="2193333" y="4964414"/>
              <a:chExt cx="687004" cy="687004"/>
            </a:xfrm>
          </p:grpSpPr>
          <p:sp>
            <p:nvSpPr>
              <p:cNvPr id="828" name="Oval 827">
                <a:extLst>
                  <a:ext uri="{FF2B5EF4-FFF2-40B4-BE49-F238E27FC236}">
                    <a16:creationId xmlns:a16="http://schemas.microsoft.com/office/drawing/2014/main" id="{631833D4-31CA-43A4-A7B2-E93DE12F3AA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9" name="Oval 828">
                <a:extLst>
                  <a:ext uri="{FF2B5EF4-FFF2-40B4-BE49-F238E27FC236}">
                    <a16:creationId xmlns:a16="http://schemas.microsoft.com/office/drawing/2014/main" id="{8522D141-E328-4EC8-BBD3-A594CD9E596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0" name="Oval 829">
                <a:extLst>
                  <a:ext uri="{FF2B5EF4-FFF2-40B4-BE49-F238E27FC236}">
                    <a16:creationId xmlns:a16="http://schemas.microsoft.com/office/drawing/2014/main" id="{76CB0C61-A553-4005-8FF1-81C35E2CEE3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1" name="Plus 64">
                <a:extLst>
                  <a:ext uri="{FF2B5EF4-FFF2-40B4-BE49-F238E27FC236}">
                    <a16:creationId xmlns:a16="http://schemas.microsoft.com/office/drawing/2014/main" id="{11A8269A-66DE-47BA-80B8-60D1A1AD84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13" name="Group 812">
              <a:extLst>
                <a:ext uri="{FF2B5EF4-FFF2-40B4-BE49-F238E27FC236}">
                  <a16:creationId xmlns:a16="http://schemas.microsoft.com/office/drawing/2014/main" id="{709CD478-BC91-4A83-A228-1946E659CB45}"/>
                </a:ext>
              </a:extLst>
            </p:cNvPr>
            <p:cNvGrpSpPr/>
            <p:nvPr/>
          </p:nvGrpSpPr>
          <p:grpSpPr>
            <a:xfrm>
              <a:off x="11083263" y="2016482"/>
              <a:ext cx="687004" cy="687004"/>
              <a:chOff x="2193333" y="4964414"/>
              <a:chExt cx="687004" cy="687004"/>
            </a:xfrm>
          </p:grpSpPr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69A5F378-614D-4AC5-8771-7F8CB9BDF27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0DB6C60C-F251-4B88-9308-148B22433B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6" name="Oval 825">
                <a:extLst>
                  <a:ext uri="{FF2B5EF4-FFF2-40B4-BE49-F238E27FC236}">
                    <a16:creationId xmlns:a16="http://schemas.microsoft.com/office/drawing/2014/main" id="{834DF228-E98B-4E3D-A6FD-C11BD88609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7" name="Plus 60">
                <a:extLst>
                  <a:ext uri="{FF2B5EF4-FFF2-40B4-BE49-F238E27FC236}">
                    <a16:creationId xmlns:a16="http://schemas.microsoft.com/office/drawing/2014/main" id="{6265053C-86C0-4726-9E4B-5DD2EB387F7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14" name="Group 813">
              <a:extLst>
                <a:ext uri="{FF2B5EF4-FFF2-40B4-BE49-F238E27FC236}">
                  <a16:creationId xmlns:a16="http://schemas.microsoft.com/office/drawing/2014/main" id="{782F26A7-951A-4A1D-A10D-38BF401EDA27}"/>
                </a:ext>
              </a:extLst>
            </p:cNvPr>
            <p:cNvGrpSpPr/>
            <p:nvPr/>
          </p:nvGrpSpPr>
          <p:grpSpPr>
            <a:xfrm>
              <a:off x="11362542" y="2392394"/>
              <a:ext cx="687004" cy="687004"/>
              <a:chOff x="2193333" y="4964414"/>
              <a:chExt cx="687004" cy="687004"/>
            </a:xfrm>
          </p:grpSpPr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1873AEBD-FB6C-4F76-98FD-EC243E66288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3D74625D-82B1-4FD9-A040-3B29A891F6E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431CB649-3309-492E-A26C-A9628844C4A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3" name="Plus 56">
                <a:extLst>
                  <a:ext uri="{FF2B5EF4-FFF2-40B4-BE49-F238E27FC236}">
                    <a16:creationId xmlns:a16="http://schemas.microsoft.com/office/drawing/2014/main" id="{02482C18-90A1-4145-9842-2394A8A3F4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15" name="Group 814">
              <a:extLst>
                <a:ext uri="{FF2B5EF4-FFF2-40B4-BE49-F238E27FC236}">
                  <a16:creationId xmlns:a16="http://schemas.microsoft.com/office/drawing/2014/main" id="{A5AAC5E5-C30A-4E45-B8BA-943D7F917FE8}"/>
                </a:ext>
              </a:extLst>
            </p:cNvPr>
            <p:cNvGrpSpPr/>
            <p:nvPr/>
          </p:nvGrpSpPr>
          <p:grpSpPr>
            <a:xfrm>
              <a:off x="11658509" y="3666007"/>
              <a:ext cx="687004" cy="687004"/>
              <a:chOff x="2193333" y="4964414"/>
              <a:chExt cx="687004" cy="687004"/>
            </a:xfrm>
          </p:grpSpPr>
          <p:sp>
            <p:nvSpPr>
              <p:cNvPr id="816" name="Oval 815">
                <a:extLst>
                  <a:ext uri="{FF2B5EF4-FFF2-40B4-BE49-F238E27FC236}">
                    <a16:creationId xmlns:a16="http://schemas.microsoft.com/office/drawing/2014/main" id="{5893BDE3-1130-4D32-A80C-2EBCFE0CFDA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52949" y="5024030"/>
                <a:ext cx="567772" cy="567772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87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7" name="Oval 816">
                <a:extLst>
                  <a:ext uri="{FF2B5EF4-FFF2-40B4-BE49-F238E27FC236}">
                    <a16:creationId xmlns:a16="http://schemas.microsoft.com/office/drawing/2014/main" id="{0F31FD2B-2DC5-4236-B44A-23E67FD2080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91157" y="5162238"/>
                <a:ext cx="291356" cy="291356"/>
              </a:xfrm>
              <a:prstGeom prst="ellipse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AC91D7CB-5673-4A4D-B32E-C7E69A53C0E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42937" y="5114018"/>
                <a:ext cx="387796" cy="387796"/>
              </a:xfrm>
              <a:prstGeom prst="ellipse">
                <a:avLst/>
              </a:prstGeom>
              <a:gradFill flip="none" rotWithShape="1">
                <a:gsLst>
                  <a:gs pos="65000">
                    <a:srgbClr val="FFFFFF">
                      <a:alpha val="10196"/>
                    </a:srgbClr>
                  </a:gs>
                  <a:gs pos="48000">
                    <a:srgbClr val="FFFFFF">
                      <a:alpha val="15000"/>
                    </a:srgbClr>
                  </a:gs>
                  <a:gs pos="99000">
                    <a:srgbClr val="FFFFFF">
                      <a:alpha val="5098"/>
                    </a:srgbClr>
                  </a:gs>
                  <a:gs pos="27000">
                    <a:srgbClr val="FFFFFF">
                      <a:alpha val="2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9" name="Plus 52">
                <a:extLst>
                  <a:ext uri="{FF2B5EF4-FFF2-40B4-BE49-F238E27FC236}">
                    <a16:creationId xmlns:a16="http://schemas.microsoft.com/office/drawing/2014/main" id="{5F4B01EB-07E9-473D-962D-04276E30276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93333" y="4964414"/>
                <a:ext cx="687004" cy="687004"/>
              </a:xfrm>
              <a:prstGeom prst="mathPlus">
                <a:avLst/>
              </a:prstGeom>
              <a:gradFill flip="none" rotWithShape="1">
                <a:gsLst>
                  <a:gs pos="15000">
                    <a:srgbClr val="FFFFFF">
                      <a:alpha val="81000"/>
                    </a:srgbClr>
                  </a:gs>
                  <a:gs pos="65000">
                    <a:srgbClr val="FFFFFF">
                      <a:alpha val="10196"/>
                    </a:srgbClr>
                  </a:gs>
                  <a:gs pos="95000">
                    <a:srgbClr val="FFFFFF">
                      <a:alpha val="5098"/>
                    </a:srgbClr>
                  </a:gs>
                  <a:gs pos="40000">
                    <a:srgbClr val="FFFFFF">
                      <a:alpha val="25000"/>
                    </a:srgbClr>
                  </a:gs>
                  <a:gs pos="0">
                    <a:sysClr val="window" lastClr="FFFFFF">
                      <a:alpha val="85000"/>
                    </a:sysClr>
                  </a:gs>
                  <a:gs pos="24000">
                    <a:srgbClr val="FFFFFF">
                      <a:alpha val="6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>
                <a:softEdge rad="635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28" name="TextBox 1027">
            <a:extLst>
              <a:ext uri="{FF2B5EF4-FFF2-40B4-BE49-F238E27FC236}">
                <a16:creationId xmlns:a16="http://schemas.microsoft.com/office/drawing/2014/main" id="{9E166342-01DA-4021-8A82-B62C8FA93FC3}"/>
              </a:ext>
            </a:extLst>
          </p:cNvPr>
          <p:cNvSpPr txBox="1"/>
          <p:nvPr/>
        </p:nvSpPr>
        <p:spPr>
          <a:xfrm>
            <a:off x="6295295" y="523874"/>
            <a:ext cx="550984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95000"/>
                  </a:schemeClr>
                </a:solidFill>
              </a:rPr>
              <a:t>Thank You</a:t>
            </a:r>
            <a:endParaRPr lang="he-IL" sz="4000" b="1" dirty="0">
              <a:solidFill>
                <a:schemeClr val="tx1">
                  <a:lumMod val="95000"/>
                </a:schemeClr>
              </a:solidFill>
            </a:endParaRPr>
          </a:p>
        </p:txBody>
      </p:sp>
      <p:cxnSp>
        <p:nvCxnSpPr>
          <p:cNvPr id="1029" name="Google Shape;1057;p35">
            <a:extLst>
              <a:ext uri="{FF2B5EF4-FFF2-40B4-BE49-F238E27FC236}">
                <a16:creationId xmlns:a16="http://schemas.microsoft.com/office/drawing/2014/main" id="{6D3018AA-D13F-4D20-8E47-8FD157DDF5CF}"/>
              </a:ext>
            </a:extLst>
          </p:cNvPr>
          <p:cNvCxnSpPr>
            <a:cxnSpLocks/>
          </p:cNvCxnSpPr>
          <p:nvPr/>
        </p:nvCxnSpPr>
        <p:spPr>
          <a:xfrm>
            <a:off x="6858000" y="1214357"/>
            <a:ext cx="5064369" cy="0"/>
          </a:xfrm>
          <a:prstGeom prst="straightConnector1">
            <a:avLst/>
          </a:prstGeom>
          <a:ln w="38100">
            <a:solidFill>
              <a:schemeClr val="tx1">
                <a:lumMod val="9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35" name="TextBox 1034">
            <a:extLst>
              <a:ext uri="{FF2B5EF4-FFF2-40B4-BE49-F238E27FC236}">
                <a16:creationId xmlns:a16="http://schemas.microsoft.com/office/drawing/2014/main" id="{2B4846D1-2A88-4CF0-B48D-88FF40381C24}"/>
              </a:ext>
            </a:extLst>
          </p:cNvPr>
          <p:cNvSpPr txBox="1"/>
          <p:nvPr/>
        </p:nvSpPr>
        <p:spPr>
          <a:xfrm>
            <a:off x="1575604" y="4622008"/>
            <a:ext cx="3034767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b="1" dirty="0"/>
              <a:t>Yossi Ashkenazi</a:t>
            </a:r>
            <a:endParaRPr lang="he-IL" b="1" dirty="0"/>
          </a:p>
        </p:txBody>
      </p:sp>
      <p:sp>
        <p:nvSpPr>
          <p:cNvPr id="1036" name="TextBox 1035">
            <a:extLst>
              <a:ext uri="{FF2B5EF4-FFF2-40B4-BE49-F238E27FC236}">
                <a16:creationId xmlns:a16="http://schemas.microsoft.com/office/drawing/2014/main" id="{DCB126A5-9AF3-403C-90FC-EDDF5793135C}"/>
              </a:ext>
            </a:extLst>
          </p:cNvPr>
          <p:cNvSpPr txBox="1"/>
          <p:nvPr/>
        </p:nvSpPr>
        <p:spPr>
          <a:xfrm>
            <a:off x="695395" y="4987981"/>
            <a:ext cx="5089328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/>
              <a:t>B.Sc. Computer Science Student 3</a:t>
            </a:r>
            <a:r>
              <a:rPr lang="en-US" sz="1400" b="1" baseline="30000" dirty="0"/>
              <a:t>rd</a:t>
            </a:r>
            <a:r>
              <a:rPr lang="en-US" sz="1400" b="1" dirty="0"/>
              <a:t> year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E69CECA8-8588-4844-8FAE-C3EA7F1B91AF}"/>
              </a:ext>
            </a:extLst>
          </p:cNvPr>
          <p:cNvSpPr txBox="1"/>
          <p:nvPr/>
        </p:nvSpPr>
        <p:spPr>
          <a:xfrm>
            <a:off x="7638575" y="4622008"/>
            <a:ext cx="3034767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b="1" dirty="0"/>
              <a:t>Omer </a:t>
            </a:r>
            <a:r>
              <a:rPr lang="en-US" b="1" dirty="0" err="1"/>
              <a:t>Kappon</a:t>
            </a:r>
            <a:endParaRPr lang="he-IL" b="1" dirty="0"/>
          </a:p>
        </p:txBody>
      </p:sp>
      <p:sp>
        <p:nvSpPr>
          <p:cNvPr id="1038" name="TextBox 1037">
            <a:extLst>
              <a:ext uri="{FF2B5EF4-FFF2-40B4-BE49-F238E27FC236}">
                <a16:creationId xmlns:a16="http://schemas.microsoft.com/office/drawing/2014/main" id="{1951E141-0682-45B1-BFC0-E0ECEA5CC2E6}"/>
              </a:ext>
            </a:extLst>
          </p:cNvPr>
          <p:cNvSpPr txBox="1"/>
          <p:nvPr/>
        </p:nvSpPr>
        <p:spPr>
          <a:xfrm>
            <a:off x="6768686" y="4987705"/>
            <a:ext cx="5089328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/>
              <a:t>B.Sc. Computer Science Student 3</a:t>
            </a:r>
            <a:r>
              <a:rPr lang="en-US" sz="1400" b="1" baseline="30000" dirty="0"/>
              <a:t>rd</a:t>
            </a:r>
            <a:r>
              <a:rPr lang="en-US" sz="1400" b="1" dirty="0"/>
              <a:t> year</a:t>
            </a:r>
          </a:p>
        </p:txBody>
      </p:sp>
      <p:grpSp>
        <p:nvGrpSpPr>
          <p:cNvPr id="1039" name="Google Shape;9117;p54">
            <a:extLst>
              <a:ext uri="{FF2B5EF4-FFF2-40B4-BE49-F238E27FC236}">
                <a16:creationId xmlns:a16="http://schemas.microsoft.com/office/drawing/2014/main" id="{48627829-D443-4F1A-B20D-E554DC1D82CC}"/>
              </a:ext>
            </a:extLst>
          </p:cNvPr>
          <p:cNvGrpSpPr/>
          <p:nvPr/>
        </p:nvGrpSpPr>
        <p:grpSpPr>
          <a:xfrm>
            <a:off x="6866487" y="5431110"/>
            <a:ext cx="279476" cy="279476"/>
            <a:chOff x="1379798" y="1723250"/>
            <a:chExt cx="397887" cy="397887"/>
          </a:xfrm>
        </p:grpSpPr>
        <p:sp>
          <p:nvSpPr>
            <p:cNvPr id="1040" name="Google Shape;9118;p54">
              <a:extLst>
                <a:ext uri="{FF2B5EF4-FFF2-40B4-BE49-F238E27FC236}">
                  <a16:creationId xmlns:a16="http://schemas.microsoft.com/office/drawing/2014/main" id="{25A089A1-2217-4393-9AF6-FD7AA2C20F7D}"/>
                </a:ext>
              </a:extLst>
            </p:cNvPr>
            <p:cNvSpPr/>
            <p:nvPr/>
          </p:nvSpPr>
          <p:spPr>
            <a:xfrm>
              <a:off x="1462169" y="1793977"/>
              <a:ext cx="23354" cy="23312"/>
            </a:xfrm>
            <a:custGeom>
              <a:avLst/>
              <a:gdLst/>
              <a:ahLst/>
              <a:cxnLst/>
              <a:rect l="l" t="t" r="r" b="b"/>
              <a:pathLst>
                <a:path w="1119" h="1117" extrusionOk="0">
                  <a:moveTo>
                    <a:pt x="559" y="1"/>
                  </a:moveTo>
                  <a:cubicBezTo>
                    <a:pt x="251" y="1"/>
                    <a:pt x="0" y="250"/>
                    <a:pt x="0" y="558"/>
                  </a:cubicBezTo>
                  <a:cubicBezTo>
                    <a:pt x="0" y="866"/>
                    <a:pt x="251" y="1117"/>
                    <a:pt x="559" y="1117"/>
                  </a:cubicBezTo>
                  <a:cubicBezTo>
                    <a:pt x="867" y="1117"/>
                    <a:pt x="1118" y="866"/>
                    <a:pt x="1118" y="558"/>
                  </a:cubicBezTo>
                  <a:cubicBezTo>
                    <a:pt x="1118" y="250"/>
                    <a:pt x="867" y="1"/>
                    <a:pt x="559" y="1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41" name="Google Shape;9119;p54">
              <a:extLst>
                <a:ext uri="{FF2B5EF4-FFF2-40B4-BE49-F238E27FC236}">
                  <a16:creationId xmlns:a16="http://schemas.microsoft.com/office/drawing/2014/main" id="{F5B0D87C-7071-4FD1-A77A-878674F8FEA3}"/>
                </a:ext>
              </a:extLst>
            </p:cNvPr>
            <p:cNvSpPr/>
            <p:nvPr/>
          </p:nvSpPr>
          <p:spPr>
            <a:xfrm>
              <a:off x="1379798" y="1723250"/>
              <a:ext cx="397887" cy="397887"/>
            </a:xfrm>
            <a:custGeom>
              <a:avLst/>
              <a:gdLst/>
              <a:ahLst/>
              <a:cxnLst/>
              <a:rect l="l" t="t" r="r" b="b"/>
              <a:pathLst>
                <a:path w="19065" h="19065" extrusionOk="0">
                  <a:moveTo>
                    <a:pt x="4506" y="2271"/>
                  </a:moveTo>
                  <a:cubicBezTo>
                    <a:pt x="5429" y="2271"/>
                    <a:pt x="6181" y="3023"/>
                    <a:pt x="6181" y="3947"/>
                  </a:cubicBezTo>
                  <a:cubicBezTo>
                    <a:pt x="6181" y="4872"/>
                    <a:pt x="5429" y="5622"/>
                    <a:pt x="4506" y="5622"/>
                  </a:cubicBezTo>
                  <a:cubicBezTo>
                    <a:pt x="3583" y="5622"/>
                    <a:pt x="2831" y="4872"/>
                    <a:pt x="2831" y="3947"/>
                  </a:cubicBezTo>
                  <a:cubicBezTo>
                    <a:pt x="2831" y="3023"/>
                    <a:pt x="3583" y="2271"/>
                    <a:pt x="4506" y="2271"/>
                  </a:cubicBezTo>
                  <a:close/>
                  <a:moveTo>
                    <a:pt x="5622" y="6740"/>
                  </a:moveTo>
                  <a:cubicBezTo>
                    <a:pt x="5932" y="6740"/>
                    <a:pt x="6181" y="6989"/>
                    <a:pt x="6181" y="7299"/>
                  </a:cubicBezTo>
                  <a:lnTo>
                    <a:pt x="6181" y="16234"/>
                  </a:lnTo>
                  <a:cubicBezTo>
                    <a:pt x="6181" y="16544"/>
                    <a:pt x="5932" y="16793"/>
                    <a:pt x="5622" y="16793"/>
                  </a:cubicBezTo>
                  <a:lnTo>
                    <a:pt x="3388" y="16793"/>
                  </a:lnTo>
                  <a:cubicBezTo>
                    <a:pt x="3080" y="16793"/>
                    <a:pt x="2831" y="16544"/>
                    <a:pt x="2831" y="16234"/>
                  </a:cubicBezTo>
                  <a:lnTo>
                    <a:pt x="2831" y="7299"/>
                  </a:lnTo>
                  <a:cubicBezTo>
                    <a:pt x="2831" y="6989"/>
                    <a:pt x="3080" y="6740"/>
                    <a:pt x="3388" y="6740"/>
                  </a:cubicBezTo>
                  <a:close/>
                  <a:moveTo>
                    <a:pt x="12596" y="6721"/>
                  </a:moveTo>
                  <a:cubicBezTo>
                    <a:pt x="12811" y="6721"/>
                    <a:pt x="13027" y="6739"/>
                    <a:pt x="13241" y="6774"/>
                  </a:cubicBezTo>
                  <a:cubicBezTo>
                    <a:pt x="15058" y="7069"/>
                    <a:pt x="16235" y="8557"/>
                    <a:pt x="16235" y="10223"/>
                  </a:cubicBezTo>
                  <a:lnTo>
                    <a:pt x="16235" y="16234"/>
                  </a:lnTo>
                  <a:cubicBezTo>
                    <a:pt x="16235" y="16544"/>
                    <a:pt x="15985" y="16793"/>
                    <a:pt x="15676" y="16793"/>
                  </a:cubicBezTo>
                  <a:lnTo>
                    <a:pt x="13441" y="16793"/>
                  </a:lnTo>
                  <a:cubicBezTo>
                    <a:pt x="13133" y="16793"/>
                    <a:pt x="12884" y="16544"/>
                    <a:pt x="12884" y="16234"/>
                  </a:cubicBezTo>
                  <a:lnTo>
                    <a:pt x="12884" y="11209"/>
                  </a:lnTo>
                  <a:cubicBezTo>
                    <a:pt x="12884" y="10593"/>
                    <a:pt x="12382" y="10091"/>
                    <a:pt x="11766" y="10091"/>
                  </a:cubicBezTo>
                  <a:cubicBezTo>
                    <a:pt x="11150" y="10091"/>
                    <a:pt x="10650" y="10593"/>
                    <a:pt x="10650" y="11209"/>
                  </a:cubicBezTo>
                  <a:lnTo>
                    <a:pt x="10650" y="16234"/>
                  </a:lnTo>
                  <a:cubicBezTo>
                    <a:pt x="10650" y="16544"/>
                    <a:pt x="10399" y="16793"/>
                    <a:pt x="10091" y="16793"/>
                  </a:cubicBezTo>
                  <a:lnTo>
                    <a:pt x="7857" y="16793"/>
                  </a:lnTo>
                  <a:cubicBezTo>
                    <a:pt x="7547" y="16793"/>
                    <a:pt x="7298" y="16544"/>
                    <a:pt x="7298" y="16234"/>
                  </a:cubicBezTo>
                  <a:lnTo>
                    <a:pt x="7298" y="7299"/>
                  </a:lnTo>
                  <a:cubicBezTo>
                    <a:pt x="7298" y="6989"/>
                    <a:pt x="7547" y="6740"/>
                    <a:pt x="7857" y="6740"/>
                  </a:cubicBezTo>
                  <a:lnTo>
                    <a:pt x="10091" y="6740"/>
                  </a:lnTo>
                  <a:cubicBezTo>
                    <a:pt x="10377" y="6740"/>
                    <a:pt x="10613" y="6956"/>
                    <a:pt x="10644" y="7234"/>
                  </a:cubicBezTo>
                  <a:cubicBezTo>
                    <a:pt x="11219" y="6901"/>
                    <a:pt x="11901" y="6721"/>
                    <a:pt x="12596" y="6721"/>
                  </a:cubicBezTo>
                  <a:close/>
                  <a:moveTo>
                    <a:pt x="2831" y="0"/>
                  </a:moveTo>
                  <a:cubicBezTo>
                    <a:pt x="1290" y="0"/>
                    <a:pt x="0" y="1290"/>
                    <a:pt x="0" y="2831"/>
                  </a:cubicBezTo>
                  <a:lnTo>
                    <a:pt x="0" y="16234"/>
                  </a:lnTo>
                  <a:cubicBezTo>
                    <a:pt x="0" y="17775"/>
                    <a:pt x="1290" y="19065"/>
                    <a:pt x="2831" y="19065"/>
                  </a:cubicBezTo>
                  <a:lnTo>
                    <a:pt x="16235" y="19065"/>
                  </a:lnTo>
                  <a:cubicBezTo>
                    <a:pt x="17774" y="19065"/>
                    <a:pt x="19065" y="17775"/>
                    <a:pt x="19065" y="16234"/>
                  </a:cubicBezTo>
                  <a:lnTo>
                    <a:pt x="19065" y="2831"/>
                  </a:lnTo>
                  <a:cubicBezTo>
                    <a:pt x="19065" y="1290"/>
                    <a:pt x="17774" y="0"/>
                    <a:pt x="16235" y="0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42" name="Google Shape;9120;p54">
              <a:extLst>
                <a:ext uri="{FF2B5EF4-FFF2-40B4-BE49-F238E27FC236}">
                  <a16:creationId xmlns:a16="http://schemas.microsoft.com/office/drawing/2014/main" id="{2C52917C-6267-4224-A612-068018F3D021}"/>
                </a:ext>
              </a:extLst>
            </p:cNvPr>
            <p:cNvSpPr/>
            <p:nvPr/>
          </p:nvSpPr>
          <p:spPr>
            <a:xfrm>
              <a:off x="1555413" y="1886846"/>
              <a:ext cx="139912" cy="163558"/>
            </a:xfrm>
            <a:custGeom>
              <a:avLst/>
              <a:gdLst/>
              <a:ahLst/>
              <a:cxnLst/>
              <a:rect l="l" t="t" r="r" b="b"/>
              <a:pathLst>
                <a:path w="6704" h="7837" extrusionOk="0">
                  <a:moveTo>
                    <a:pt x="4182" y="0"/>
                  </a:moveTo>
                  <a:cubicBezTo>
                    <a:pt x="3474" y="0"/>
                    <a:pt x="2782" y="261"/>
                    <a:pt x="2332" y="711"/>
                  </a:cubicBezTo>
                  <a:cubicBezTo>
                    <a:pt x="2108" y="935"/>
                    <a:pt x="1938" y="1142"/>
                    <a:pt x="1686" y="1142"/>
                  </a:cubicBezTo>
                  <a:cubicBezTo>
                    <a:pt x="1618" y="1142"/>
                    <a:pt x="1544" y="1127"/>
                    <a:pt x="1462" y="1093"/>
                  </a:cubicBezTo>
                  <a:cubicBezTo>
                    <a:pt x="1253" y="1006"/>
                    <a:pt x="1117" y="803"/>
                    <a:pt x="1117" y="576"/>
                  </a:cubicBezTo>
                  <a:lnTo>
                    <a:pt x="1117" y="17"/>
                  </a:lnTo>
                  <a:lnTo>
                    <a:pt x="1" y="17"/>
                  </a:lnTo>
                  <a:lnTo>
                    <a:pt x="1" y="7836"/>
                  </a:lnTo>
                  <a:lnTo>
                    <a:pt x="1117" y="7836"/>
                  </a:lnTo>
                  <a:lnTo>
                    <a:pt x="1117" y="3370"/>
                  </a:lnTo>
                  <a:cubicBezTo>
                    <a:pt x="1117" y="2137"/>
                    <a:pt x="2120" y="1135"/>
                    <a:pt x="3351" y="1135"/>
                  </a:cubicBezTo>
                  <a:cubicBezTo>
                    <a:pt x="4584" y="1135"/>
                    <a:pt x="5585" y="2137"/>
                    <a:pt x="5585" y="3370"/>
                  </a:cubicBezTo>
                  <a:lnTo>
                    <a:pt x="5585" y="7836"/>
                  </a:lnTo>
                  <a:lnTo>
                    <a:pt x="6703" y="7836"/>
                  </a:lnTo>
                  <a:lnTo>
                    <a:pt x="6703" y="2384"/>
                  </a:lnTo>
                  <a:cubicBezTo>
                    <a:pt x="6703" y="1266"/>
                    <a:pt x="5932" y="245"/>
                    <a:pt x="4648" y="38"/>
                  </a:cubicBezTo>
                  <a:cubicBezTo>
                    <a:pt x="4493" y="13"/>
                    <a:pt x="4337" y="0"/>
                    <a:pt x="4182" y="0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43" name="Google Shape;9121;p54">
              <a:extLst>
                <a:ext uri="{FF2B5EF4-FFF2-40B4-BE49-F238E27FC236}">
                  <a16:creationId xmlns:a16="http://schemas.microsoft.com/office/drawing/2014/main" id="{4F4229ED-A8AA-45FD-9D45-842FCC2CA17B}"/>
                </a:ext>
              </a:extLst>
            </p:cNvPr>
            <p:cNvSpPr/>
            <p:nvPr/>
          </p:nvSpPr>
          <p:spPr>
            <a:xfrm>
              <a:off x="1462169" y="1887200"/>
              <a:ext cx="23354" cy="163203"/>
            </a:xfrm>
            <a:custGeom>
              <a:avLst/>
              <a:gdLst/>
              <a:ahLst/>
              <a:cxnLst/>
              <a:rect l="l" t="t" r="r" b="b"/>
              <a:pathLst>
                <a:path w="1119" h="7820" extrusionOk="0">
                  <a:moveTo>
                    <a:pt x="0" y="0"/>
                  </a:moveTo>
                  <a:lnTo>
                    <a:pt x="0" y="7819"/>
                  </a:lnTo>
                  <a:lnTo>
                    <a:pt x="1118" y="7819"/>
                  </a:lnTo>
                  <a:lnTo>
                    <a:pt x="1118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</p:grpSp>
      <p:grpSp>
        <p:nvGrpSpPr>
          <p:cNvPr id="1044" name="Google Shape;8874;p54">
            <a:extLst>
              <a:ext uri="{FF2B5EF4-FFF2-40B4-BE49-F238E27FC236}">
                <a16:creationId xmlns:a16="http://schemas.microsoft.com/office/drawing/2014/main" id="{0AF810C3-1C73-4DA2-8642-54775040E159}"/>
              </a:ext>
            </a:extLst>
          </p:cNvPr>
          <p:cNvGrpSpPr/>
          <p:nvPr/>
        </p:nvGrpSpPr>
        <p:grpSpPr>
          <a:xfrm>
            <a:off x="6854130" y="6010472"/>
            <a:ext cx="304189" cy="214264"/>
            <a:chOff x="-1199300" y="3279250"/>
            <a:chExt cx="293025" cy="206400"/>
          </a:xfrm>
        </p:grpSpPr>
        <p:sp>
          <p:nvSpPr>
            <p:cNvPr id="1045" name="Google Shape;8875;p54">
              <a:extLst>
                <a:ext uri="{FF2B5EF4-FFF2-40B4-BE49-F238E27FC236}">
                  <a16:creationId xmlns:a16="http://schemas.microsoft.com/office/drawing/2014/main" id="{11B6CEDD-276F-4D7A-8BB4-CC855D7DA0F3}"/>
                </a:ext>
              </a:extLst>
            </p:cNvPr>
            <p:cNvSpPr/>
            <p:nvPr/>
          </p:nvSpPr>
          <p:spPr>
            <a:xfrm>
              <a:off x="-1183550" y="3395050"/>
              <a:ext cx="261525" cy="90600"/>
            </a:xfrm>
            <a:custGeom>
              <a:avLst/>
              <a:gdLst/>
              <a:ahLst/>
              <a:cxnLst/>
              <a:rect l="l" t="t" r="r" b="b"/>
              <a:pathLst>
                <a:path w="10461" h="3624" extrusionOk="0">
                  <a:moveTo>
                    <a:pt x="3498" y="0"/>
                  </a:moveTo>
                  <a:lnTo>
                    <a:pt x="1" y="3529"/>
                  </a:lnTo>
                  <a:cubicBezTo>
                    <a:pt x="127" y="3623"/>
                    <a:pt x="284" y="3623"/>
                    <a:pt x="442" y="3623"/>
                  </a:cubicBezTo>
                  <a:lnTo>
                    <a:pt x="10051" y="3623"/>
                  </a:lnTo>
                  <a:cubicBezTo>
                    <a:pt x="10208" y="3623"/>
                    <a:pt x="10366" y="3560"/>
                    <a:pt x="10460" y="3529"/>
                  </a:cubicBezTo>
                  <a:lnTo>
                    <a:pt x="6963" y="0"/>
                  </a:lnTo>
                  <a:lnTo>
                    <a:pt x="5986" y="977"/>
                  </a:lnTo>
                  <a:cubicBezTo>
                    <a:pt x="5797" y="1166"/>
                    <a:pt x="5522" y="1260"/>
                    <a:pt x="5242" y="1260"/>
                  </a:cubicBezTo>
                  <a:cubicBezTo>
                    <a:pt x="4963" y="1260"/>
                    <a:pt x="4679" y="1166"/>
                    <a:pt x="4474" y="977"/>
                  </a:cubicBezTo>
                  <a:lnTo>
                    <a:pt x="3498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46" name="Google Shape;8876;p54">
              <a:extLst>
                <a:ext uri="{FF2B5EF4-FFF2-40B4-BE49-F238E27FC236}">
                  <a16:creationId xmlns:a16="http://schemas.microsoft.com/office/drawing/2014/main" id="{B6E7182A-D79D-440B-8E10-D906692F840F}"/>
                </a:ext>
              </a:extLst>
            </p:cNvPr>
            <p:cNvSpPr/>
            <p:nvPr/>
          </p:nvSpPr>
          <p:spPr>
            <a:xfrm>
              <a:off x="-1184325" y="3279250"/>
              <a:ext cx="261500" cy="129400"/>
            </a:xfrm>
            <a:custGeom>
              <a:avLst/>
              <a:gdLst/>
              <a:ahLst/>
              <a:cxnLst/>
              <a:rect l="l" t="t" r="r" b="b"/>
              <a:pathLst>
                <a:path w="10460" h="5176" extrusionOk="0">
                  <a:moveTo>
                    <a:pt x="410" y="1"/>
                  </a:moveTo>
                  <a:cubicBezTo>
                    <a:pt x="252" y="1"/>
                    <a:pt x="95" y="64"/>
                    <a:pt x="0" y="95"/>
                  </a:cubicBezTo>
                  <a:lnTo>
                    <a:pt x="3781" y="3876"/>
                  </a:lnTo>
                  <a:lnTo>
                    <a:pt x="4978" y="5105"/>
                  </a:lnTo>
                  <a:cubicBezTo>
                    <a:pt x="5041" y="5152"/>
                    <a:pt x="5143" y="5175"/>
                    <a:pt x="5246" y="5175"/>
                  </a:cubicBezTo>
                  <a:cubicBezTo>
                    <a:pt x="5348" y="5175"/>
                    <a:pt x="5450" y="5152"/>
                    <a:pt x="5513" y="5105"/>
                  </a:cubicBezTo>
                  <a:lnTo>
                    <a:pt x="6711" y="3876"/>
                  </a:lnTo>
                  <a:lnTo>
                    <a:pt x="10460" y="95"/>
                  </a:lnTo>
                  <a:cubicBezTo>
                    <a:pt x="10334" y="1"/>
                    <a:pt x="10176" y="1"/>
                    <a:pt x="10019" y="1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47" name="Google Shape;8877;p54">
              <a:extLst>
                <a:ext uri="{FF2B5EF4-FFF2-40B4-BE49-F238E27FC236}">
                  <a16:creationId xmlns:a16="http://schemas.microsoft.com/office/drawing/2014/main" id="{E12AA376-7244-41E4-9EC8-8F58649CB685}"/>
                </a:ext>
              </a:extLst>
            </p:cNvPr>
            <p:cNvSpPr/>
            <p:nvPr/>
          </p:nvSpPr>
          <p:spPr>
            <a:xfrm>
              <a:off x="-1199300" y="3294225"/>
              <a:ext cx="90600" cy="175650"/>
            </a:xfrm>
            <a:custGeom>
              <a:avLst/>
              <a:gdLst/>
              <a:ahLst/>
              <a:cxnLst/>
              <a:rect l="l" t="t" r="r" b="b"/>
              <a:pathLst>
                <a:path w="3624" h="7026" extrusionOk="0">
                  <a:moveTo>
                    <a:pt x="126" y="0"/>
                  </a:moveTo>
                  <a:cubicBezTo>
                    <a:pt x="32" y="126"/>
                    <a:pt x="0" y="284"/>
                    <a:pt x="0" y="441"/>
                  </a:cubicBezTo>
                  <a:lnTo>
                    <a:pt x="0" y="6585"/>
                  </a:lnTo>
                  <a:cubicBezTo>
                    <a:pt x="0" y="6742"/>
                    <a:pt x="32" y="6900"/>
                    <a:pt x="126" y="7026"/>
                  </a:cubicBezTo>
                  <a:lnTo>
                    <a:pt x="3624" y="3466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48" name="Google Shape;8878;p54">
              <a:extLst>
                <a:ext uri="{FF2B5EF4-FFF2-40B4-BE49-F238E27FC236}">
                  <a16:creationId xmlns:a16="http://schemas.microsoft.com/office/drawing/2014/main" id="{FD4F6DB5-4A71-44BB-B4C9-2A0517B9C849}"/>
                </a:ext>
              </a:extLst>
            </p:cNvPr>
            <p:cNvSpPr/>
            <p:nvPr/>
          </p:nvSpPr>
          <p:spPr>
            <a:xfrm>
              <a:off x="-996875" y="3294225"/>
              <a:ext cx="90600" cy="177225"/>
            </a:xfrm>
            <a:custGeom>
              <a:avLst/>
              <a:gdLst/>
              <a:ahLst/>
              <a:cxnLst/>
              <a:rect l="l" t="t" r="r" b="b"/>
              <a:pathLst>
                <a:path w="3624" h="7089" extrusionOk="0">
                  <a:moveTo>
                    <a:pt x="3529" y="0"/>
                  </a:moveTo>
                  <a:lnTo>
                    <a:pt x="0" y="3529"/>
                  </a:lnTo>
                  <a:lnTo>
                    <a:pt x="3529" y="7089"/>
                  </a:lnTo>
                  <a:cubicBezTo>
                    <a:pt x="3592" y="6963"/>
                    <a:pt x="3623" y="6805"/>
                    <a:pt x="3623" y="6648"/>
                  </a:cubicBezTo>
                  <a:lnTo>
                    <a:pt x="3623" y="504"/>
                  </a:lnTo>
                  <a:cubicBezTo>
                    <a:pt x="3592" y="284"/>
                    <a:pt x="3560" y="126"/>
                    <a:pt x="3529" y="0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</p:grpSp>
      <p:grpSp>
        <p:nvGrpSpPr>
          <p:cNvPr id="1059" name="Google Shape;9117;p54">
            <a:extLst>
              <a:ext uri="{FF2B5EF4-FFF2-40B4-BE49-F238E27FC236}">
                <a16:creationId xmlns:a16="http://schemas.microsoft.com/office/drawing/2014/main" id="{8EB5C3C0-FFB1-4707-82CB-B6B0EECE1528}"/>
              </a:ext>
            </a:extLst>
          </p:cNvPr>
          <p:cNvGrpSpPr/>
          <p:nvPr/>
        </p:nvGrpSpPr>
        <p:grpSpPr>
          <a:xfrm>
            <a:off x="791065" y="5431110"/>
            <a:ext cx="279476" cy="279476"/>
            <a:chOff x="1379798" y="1723250"/>
            <a:chExt cx="397887" cy="397887"/>
          </a:xfrm>
        </p:grpSpPr>
        <p:sp>
          <p:nvSpPr>
            <p:cNvPr id="1060" name="Google Shape;9118;p54">
              <a:extLst>
                <a:ext uri="{FF2B5EF4-FFF2-40B4-BE49-F238E27FC236}">
                  <a16:creationId xmlns:a16="http://schemas.microsoft.com/office/drawing/2014/main" id="{7BA38CED-C928-45C5-B68D-AB946C33FFC7}"/>
                </a:ext>
              </a:extLst>
            </p:cNvPr>
            <p:cNvSpPr/>
            <p:nvPr/>
          </p:nvSpPr>
          <p:spPr>
            <a:xfrm>
              <a:off x="1462169" y="1793977"/>
              <a:ext cx="23354" cy="23312"/>
            </a:xfrm>
            <a:custGeom>
              <a:avLst/>
              <a:gdLst/>
              <a:ahLst/>
              <a:cxnLst/>
              <a:rect l="l" t="t" r="r" b="b"/>
              <a:pathLst>
                <a:path w="1119" h="1117" extrusionOk="0">
                  <a:moveTo>
                    <a:pt x="559" y="1"/>
                  </a:moveTo>
                  <a:cubicBezTo>
                    <a:pt x="251" y="1"/>
                    <a:pt x="0" y="250"/>
                    <a:pt x="0" y="558"/>
                  </a:cubicBezTo>
                  <a:cubicBezTo>
                    <a:pt x="0" y="866"/>
                    <a:pt x="251" y="1117"/>
                    <a:pt x="559" y="1117"/>
                  </a:cubicBezTo>
                  <a:cubicBezTo>
                    <a:pt x="867" y="1117"/>
                    <a:pt x="1118" y="866"/>
                    <a:pt x="1118" y="558"/>
                  </a:cubicBezTo>
                  <a:cubicBezTo>
                    <a:pt x="1118" y="250"/>
                    <a:pt x="867" y="1"/>
                    <a:pt x="559" y="1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61" name="Google Shape;9119;p54">
              <a:extLst>
                <a:ext uri="{FF2B5EF4-FFF2-40B4-BE49-F238E27FC236}">
                  <a16:creationId xmlns:a16="http://schemas.microsoft.com/office/drawing/2014/main" id="{700109E1-7577-4583-B7C2-1933B44AF2FF}"/>
                </a:ext>
              </a:extLst>
            </p:cNvPr>
            <p:cNvSpPr/>
            <p:nvPr/>
          </p:nvSpPr>
          <p:spPr>
            <a:xfrm>
              <a:off x="1379798" y="1723250"/>
              <a:ext cx="397887" cy="397887"/>
            </a:xfrm>
            <a:custGeom>
              <a:avLst/>
              <a:gdLst/>
              <a:ahLst/>
              <a:cxnLst/>
              <a:rect l="l" t="t" r="r" b="b"/>
              <a:pathLst>
                <a:path w="19065" h="19065" extrusionOk="0">
                  <a:moveTo>
                    <a:pt x="4506" y="2271"/>
                  </a:moveTo>
                  <a:cubicBezTo>
                    <a:pt x="5429" y="2271"/>
                    <a:pt x="6181" y="3023"/>
                    <a:pt x="6181" y="3947"/>
                  </a:cubicBezTo>
                  <a:cubicBezTo>
                    <a:pt x="6181" y="4872"/>
                    <a:pt x="5429" y="5622"/>
                    <a:pt x="4506" y="5622"/>
                  </a:cubicBezTo>
                  <a:cubicBezTo>
                    <a:pt x="3583" y="5622"/>
                    <a:pt x="2831" y="4872"/>
                    <a:pt x="2831" y="3947"/>
                  </a:cubicBezTo>
                  <a:cubicBezTo>
                    <a:pt x="2831" y="3023"/>
                    <a:pt x="3583" y="2271"/>
                    <a:pt x="4506" y="2271"/>
                  </a:cubicBezTo>
                  <a:close/>
                  <a:moveTo>
                    <a:pt x="5622" y="6740"/>
                  </a:moveTo>
                  <a:cubicBezTo>
                    <a:pt x="5932" y="6740"/>
                    <a:pt x="6181" y="6989"/>
                    <a:pt x="6181" y="7299"/>
                  </a:cubicBezTo>
                  <a:lnTo>
                    <a:pt x="6181" y="16234"/>
                  </a:lnTo>
                  <a:cubicBezTo>
                    <a:pt x="6181" y="16544"/>
                    <a:pt x="5932" y="16793"/>
                    <a:pt x="5622" y="16793"/>
                  </a:cubicBezTo>
                  <a:lnTo>
                    <a:pt x="3388" y="16793"/>
                  </a:lnTo>
                  <a:cubicBezTo>
                    <a:pt x="3080" y="16793"/>
                    <a:pt x="2831" y="16544"/>
                    <a:pt x="2831" y="16234"/>
                  </a:cubicBezTo>
                  <a:lnTo>
                    <a:pt x="2831" y="7299"/>
                  </a:lnTo>
                  <a:cubicBezTo>
                    <a:pt x="2831" y="6989"/>
                    <a:pt x="3080" y="6740"/>
                    <a:pt x="3388" y="6740"/>
                  </a:cubicBezTo>
                  <a:close/>
                  <a:moveTo>
                    <a:pt x="12596" y="6721"/>
                  </a:moveTo>
                  <a:cubicBezTo>
                    <a:pt x="12811" y="6721"/>
                    <a:pt x="13027" y="6739"/>
                    <a:pt x="13241" y="6774"/>
                  </a:cubicBezTo>
                  <a:cubicBezTo>
                    <a:pt x="15058" y="7069"/>
                    <a:pt x="16235" y="8557"/>
                    <a:pt x="16235" y="10223"/>
                  </a:cubicBezTo>
                  <a:lnTo>
                    <a:pt x="16235" y="16234"/>
                  </a:lnTo>
                  <a:cubicBezTo>
                    <a:pt x="16235" y="16544"/>
                    <a:pt x="15985" y="16793"/>
                    <a:pt x="15676" y="16793"/>
                  </a:cubicBezTo>
                  <a:lnTo>
                    <a:pt x="13441" y="16793"/>
                  </a:lnTo>
                  <a:cubicBezTo>
                    <a:pt x="13133" y="16793"/>
                    <a:pt x="12884" y="16544"/>
                    <a:pt x="12884" y="16234"/>
                  </a:cubicBezTo>
                  <a:lnTo>
                    <a:pt x="12884" y="11209"/>
                  </a:lnTo>
                  <a:cubicBezTo>
                    <a:pt x="12884" y="10593"/>
                    <a:pt x="12382" y="10091"/>
                    <a:pt x="11766" y="10091"/>
                  </a:cubicBezTo>
                  <a:cubicBezTo>
                    <a:pt x="11150" y="10091"/>
                    <a:pt x="10650" y="10593"/>
                    <a:pt x="10650" y="11209"/>
                  </a:cubicBezTo>
                  <a:lnTo>
                    <a:pt x="10650" y="16234"/>
                  </a:lnTo>
                  <a:cubicBezTo>
                    <a:pt x="10650" y="16544"/>
                    <a:pt x="10399" y="16793"/>
                    <a:pt x="10091" y="16793"/>
                  </a:cubicBezTo>
                  <a:lnTo>
                    <a:pt x="7857" y="16793"/>
                  </a:lnTo>
                  <a:cubicBezTo>
                    <a:pt x="7547" y="16793"/>
                    <a:pt x="7298" y="16544"/>
                    <a:pt x="7298" y="16234"/>
                  </a:cubicBezTo>
                  <a:lnTo>
                    <a:pt x="7298" y="7299"/>
                  </a:lnTo>
                  <a:cubicBezTo>
                    <a:pt x="7298" y="6989"/>
                    <a:pt x="7547" y="6740"/>
                    <a:pt x="7857" y="6740"/>
                  </a:cubicBezTo>
                  <a:lnTo>
                    <a:pt x="10091" y="6740"/>
                  </a:lnTo>
                  <a:cubicBezTo>
                    <a:pt x="10377" y="6740"/>
                    <a:pt x="10613" y="6956"/>
                    <a:pt x="10644" y="7234"/>
                  </a:cubicBezTo>
                  <a:cubicBezTo>
                    <a:pt x="11219" y="6901"/>
                    <a:pt x="11901" y="6721"/>
                    <a:pt x="12596" y="6721"/>
                  </a:cubicBezTo>
                  <a:close/>
                  <a:moveTo>
                    <a:pt x="2831" y="0"/>
                  </a:moveTo>
                  <a:cubicBezTo>
                    <a:pt x="1290" y="0"/>
                    <a:pt x="0" y="1290"/>
                    <a:pt x="0" y="2831"/>
                  </a:cubicBezTo>
                  <a:lnTo>
                    <a:pt x="0" y="16234"/>
                  </a:lnTo>
                  <a:cubicBezTo>
                    <a:pt x="0" y="17775"/>
                    <a:pt x="1290" y="19065"/>
                    <a:pt x="2831" y="19065"/>
                  </a:cubicBezTo>
                  <a:lnTo>
                    <a:pt x="16235" y="19065"/>
                  </a:lnTo>
                  <a:cubicBezTo>
                    <a:pt x="17774" y="19065"/>
                    <a:pt x="19065" y="17775"/>
                    <a:pt x="19065" y="16234"/>
                  </a:cubicBezTo>
                  <a:lnTo>
                    <a:pt x="19065" y="2831"/>
                  </a:lnTo>
                  <a:cubicBezTo>
                    <a:pt x="19065" y="1290"/>
                    <a:pt x="17774" y="0"/>
                    <a:pt x="16235" y="0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62" name="Google Shape;9120;p54">
              <a:extLst>
                <a:ext uri="{FF2B5EF4-FFF2-40B4-BE49-F238E27FC236}">
                  <a16:creationId xmlns:a16="http://schemas.microsoft.com/office/drawing/2014/main" id="{47B01046-21AE-46D0-BB96-68879A1B7531}"/>
                </a:ext>
              </a:extLst>
            </p:cNvPr>
            <p:cNvSpPr/>
            <p:nvPr/>
          </p:nvSpPr>
          <p:spPr>
            <a:xfrm>
              <a:off x="1555413" y="1886846"/>
              <a:ext cx="139912" cy="163558"/>
            </a:xfrm>
            <a:custGeom>
              <a:avLst/>
              <a:gdLst/>
              <a:ahLst/>
              <a:cxnLst/>
              <a:rect l="l" t="t" r="r" b="b"/>
              <a:pathLst>
                <a:path w="6704" h="7837" extrusionOk="0">
                  <a:moveTo>
                    <a:pt x="4182" y="0"/>
                  </a:moveTo>
                  <a:cubicBezTo>
                    <a:pt x="3474" y="0"/>
                    <a:pt x="2782" y="261"/>
                    <a:pt x="2332" y="711"/>
                  </a:cubicBezTo>
                  <a:cubicBezTo>
                    <a:pt x="2108" y="935"/>
                    <a:pt x="1938" y="1142"/>
                    <a:pt x="1686" y="1142"/>
                  </a:cubicBezTo>
                  <a:cubicBezTo>
                    <a:pt x="1618" y="1142"/>
                    <a:pt x="1544" y="1127"/>
                    <a:pt x="1462" y="1093"/>
                  </a:cubicBezTo>
                  <a:cubicBezTo>
                    <a:pt x="1253" y="1006"/>
                    <a:pt x="1117" y="803"/>
                    <a:pt x="1117" y="576"/>
                  </a:cubicBezTo>
                  <a:lnTo>
                    <a:pt x="1117" y="17"/>
                  </a:lnTo>
                  <a:lnTo>
                    <a:pt x="1" y="17"/>
                  </a:lnTo>
                  <a:lnTo>
                    <a:pt x="1" y="7836"/>
                  </a:lnTo>
                  <a:lnTo>
                    <a:pt x="1117" y="7836"/>
                  </a:lnTo>
                  <a:lnTo>
                    <a:pt x="1117" y="3370"/>
                  </a:lnTo>
                  <a:cubicBezTo>
                    <a:pt x="1117" y="2137"/>
                    <a:pt x="2120" y="1135"/>
                    <a:pt x="3351" y="1135"/>
                  </a:cubicBezTo>
                  <a:cubicBezTo>
                    <a:pt x="4584" y="1135"/>
                    <a:pt x="5585" y="2137"/>
                    <a:pt x="5585" y="3370"/>
                  </a:cubicBezTo>
                  <a:lnTo>
                    <a:pt x="5585" y="7836"/>
                  </a:lnTo>
                  <a:lnTo>
                    <a:pt x="6703" y="7836"/>
                  </a:lnTo>
                  <a:lnTo>
                    <a:pt x="6703" y="2384"/>
                  </a:lnTo>
                  <a:cubicBezTo>
                    <a:pt x="6703" y="1266"/>
                    <a:pt x="5932" y="245"/>
                    <a:pt x="4648" y="38"/>
                  </a:cubicBezTo>
                  <a:cubicBezTo>
                    <a:pt x="4493" y="13"/>
                    <a:pt x="4337" y="0"/>
                    <a:pt x="4182" y="0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63" name="Google Shape;9121;p54">
              <a:extLst>
                <a:ext uri="{FF2B5EF4-FFF2-40B4-BE49-F238E27FC236}">
                  <a16:creationId xmlns:a16="http://schemas.microsoft.com/office/drawing/2014/main" id="{421E50B6-BA08-4B9A-9848-19EC18C3B23D}"/>
                </a:ext>
              </a:extLst>
            </p:cNvPr>
            <p:cNvSpPr/>
            <p:nvPr/>
          </p:nvSpPr>
          <p:spPr>
            <a:xfrm>
              <a:off x="1462169" y="1887200"/>
              <a:ext cx="23354" cy="163203"/>
            </a:xfrm>
            <a:custGeom>
              <a:avLst/>
              <a:gdLst/>
              <a:ahLst/>
              <a:cxnLst/>
              <a:rect l="l" t="t" r="r" b="b"/>
              <a:pathLst>
                <a:path w="1119" h="7820" extrusionOk="0">
                  <a:moveTo>
                    <a:pt x="0" y="0"/>
                  </a:moveTo>
                  <a:lnTo>
                    <a:pt x="0" y="7819"/>
                  </a:lnTo>
                  <a:lnTo>
                    <a:pt x="1118" y="7819"/>
                  </a:lnTo>
                  <a:lnTo>
                    <a:pt x="1118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</p:grpSp>
      <p:grpSp>
        <p:nvGrpSpPr>
          <p:cNvPr id="1064" name="Google Shape;8874;p54">
            <a:extLst>
              <a:ext uri="{FF2B5EF4-FFF2-40B4-BE49-F238E27FC236}">
                <a16:creationId xmlns:a16="http://schemas.microsoft.com/office/drawing/2014/main" id="{319F1AB8-776A-46E3-819F-7C347167C3D3}"/>
              </a:ext>
            </a:extLst>
          </p:cNvPr>
          <p:cNvGrpSpPr/>
          <p:nvPr/>
        </p:nvGrpSpPr>
        <p:grpSpPr>
          <a:xfrm>
            <a:off x="778708" y="6010472"/>
            <a:ext cx="304189" cy="214264"/>
            <a:chOff x="-1199300" y="3279250"/>
            <a:chExt cx="293025" cy="206400"/>
          </a:xfrm>
        </p:grpSpPr>
        <p:sp>
          <p:nvSpPr>
            <p:cNvPr id="1065" name="Google Shape;8875;p54">
              <a:extLst>
                <a:ext uri="{FF2B5EF4-FFF2-40B4-BE49-F238E27FC236}">
                  <a16:creationId xmlns:a16="http://schemas.microsoft.com/office/drawing/2014/main" id="{15070A29-156C-40B2-A307-F860DBAEE666}"/>
                </a:ext>
              </a:extLst>
            </p:cNvPr>
            <p:cNvSpPr/>
            <p:nvPr/>
          </p:nvSpPr>
          <p:spPr>
            <a:xfrm>
              <a:off x="-1183550" y="3395050"/>
              <a:ext cx="261525" cy="90600"/>
            </a:xfrm>
            <a:custGeom>
              <a:avLst/>
              <a:gdLst/>
              <a:ahLst/>
              <a:cxnLst/>
              <a:rect l="l" t="t" r="r" b="b"/>
              <a:pathLst>
                <a:path w="10461" h="3624" extrusionOk="0">
                  <a:moveTo>
                    <a:pt x="3498" y="0"/>
                  </a:moveTo>
                  <a:lnTo>
                    <a:pt x="1" y="3529"/>
                  </a:lnTo>
                  <a:cubicBezTo>
                    <a:pt x="127" y="3623"/>
                    <a:pt x="284" y="3623"/>
                    <a:pt x="442" y="3623"/>
                  </a:cubicBezTo>
                  <a:lnTo>
                    <a:pt x="10051" y="3623"/>
                  </a:lnTo>
                  <a:cubicBezTo>
                    <a:pt x="10208" y="3623"/>
                    <a:pt x="10366" y="3560"/>
                    <a:pt x="10460" y="3529"/>
                  </a:cubicBezTo>
                  <a:lnTo>
                    <a:pt x="6963" y="0"/>
                  </a:lnTo>
                  <a:lnTo>
                    <a:pt x="5986" y="977"/>
                  </a:lnTo>
                  <a:cubicBezTo>
                    <a:pt x="5797" y="1166"/>
                    <a:pt x="5522" y="1260"/>
                    <a:pt x="5242" y="1260"/>
                  </a:cubicBezTo>
                  <a:cubicBezTo>
                    <a:pt x="4963" y="1260"/>
                    <a:pt x="4679" y="1166"/>
                    <a:pt x="4474" y="977"/>
                  </a:cubicBezTo>
                  <a:lnTo>
                    <a:pt x="3498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66" name="Google Shape;8876;p54">
              <a:extLst>
                <a:ext uri="{FF2B5EF4-FFF2-40B4-BE49-F238E27FC236}">
                  <a16:creationId xmlns:a16="http://schemas.microsoft.com/office/drawing/2014/main" id="{99580F41-A639-42F4-A148-9B00786789BC}"/>
                </a:ext>
              </a:extLst>
            </p:cNvPr>
            <p:cNvSpPr/>
            <p:nvPr/>
          </p:nvSpPr>
          <p:spPr>
            <a:xfrm>
              <a:off x="-1184325" y="3279250"/>
              <a:ext cx="261500" cy="129400"/>
            </a:xfrm>
            <a:custGeom>
              <a:avLst/>
              <a:gdLst/>
              <a:ahLst/>
              <a:cxnLst/>
              <a:rect l="l" t="t" r="r" b="b"/>
              <a:pathLst>
                <a:path w="10460" h="5176" extrusionOk="0">
                  <a:moveTo>
                    <a:pt x="410" y="1"/>
                  </a:moveTo>
                  <a:cubicBezTo>
                    <a:pt x="252" y="1"/>
                    <a:pt x="95" y="64"/>
                    <a:pt x="0" y="95"/>
                  </a:cubicBezTo>
                  <a:lnTo>
                    <a:pt x="3781" y="3876"/>
                  </a:lnTo>
                  <a:lnTo>
                    <a:pt x="4978" y="5105"/>
                  </a:lnTo>
                  <a:cubicBezTo>
                    <a:pt x="5041" y="5152"/>
                    <a:pt x="5143" y="5175"/>
                    <a:pt x="5246" y="5175"/>
                  </a:cubicBezTo>
                  <a:cubicBezTo>
                    <a:pt x="5348" y="5175"/>
                    <a:pt x="5450" y="5152"/>
                    <a:pt x="5513" y="5105"/>
                  </a:cubicBezTo>
                  <a:lnTo>
                    <a:pt x="6711" y="3876"/>
                  </a:lnTo>
                  <a:lnTo>
                    <a:pt x="10460" y="95"/>
                  </a:lnTo>
                  <a:cubicBezTo>
                    <a:pt x="10334" y="1"/>
                    <a:pt x="10176" y="1"/>
                    <a:pt x="10019" y="1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67" name="Google Shape;8877;p54">
              <a:extLst>
                <a:ext uri="{FF2B5EF4-FFF2-40B4-BE49-F238E27FC236}">
                  <a16:creationId xmlns:a16="http://schemas.microsoft.com/office/drawing/2014/main" id="{5DC69792-ED29-4411-B7F0-79CD395379A7}"/>
                </a:ext>
              </a:extLst>
            </p:cNvPr>
            <p:cNvSpPr/>
            <p:nvPr/>
          </p:nvSpPr>
          <p:spPr>
            <a:xfrm>
              <a:off x="-1199300" y="3294225"/>
              <a:ext cx="90600" cy="175650"/>
            </a:xfrm>
            <a:custGeom>
              <a:avLst/>
              <a:gdLst/>
              <a:ahLst/>
              <a:cxnLst/>
              <a:rect l="l" t="t" r="r" b="b"/>
              <a:pathLst>
                <a:path w="3624" h="7026" extrusionOk="0">
                  <a:moveTo>
                    <a:pt x="126" y="0"/>
                  </a:moveTo>
                  <a:cubicBezTo>
                    <a:pt x="32" y="126"/>
                    <a:pt x="0" y="284"/>
                    <a:pt x="0" y="441"/>
                  </a:cubicBezTo>
                  <a:lnTo>
                    <a:pt x="0" y="6585"/>
                  </a:lnTo>
                  <a:cubicBezTo>
                    <a:pt x="0" y="6742"/>
                    <a:pt x="32" y="6900"/>
                    <a:pt x="126" y="7026"/>
                  </a:cubicBezTo>
                  <a:lnTo>
                    <a:pt x="3624" y="3466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1068" name="Google Shape;8878;p54">
              <a:extLst>
                <a:ext uri="{FF2B5EF4-FFF2-40B4-BE49-F238E27FC236}">
                  <a16:creationId xmlns:a16="http://schemas.microsoft.com/office/drawing/2014/main" id="{A755BB34-7D2A-4EC2-B777-BEE86FC151A3}"/>
                </a:ext>
              </a:extLst>
            </p:cNvPr>
            <p:cNvSpPr/>
            <p:nvPr/>
          </p:nvSpPr>
          <p:spPr>
            <a:xfrm>
              <a:off x="-996875" y="3294225"/>
              <a:ext cx="90600" cy="177225"/>
            </a:xfrm>
            <a:custGeom>
              <a:avLst/>
              <a:gdLst/>
              <a:ahLst/>
              <a:cxnLst/>
              <a:rect l="l" t="t" r="r" b="b"/>
              <a:pathLst>
                <a:path w="3624" h="7089" extrusionOk="0">
                  <a:moveTo>
                    <a:pt x="3529" y="0"/>
                  </a:moveTo>
                  <a:lnTo>
                    <a:pt x="0" y="3529"/>
                  </a:lnTo>
                  <a:lnTo>
                    <a:pt x="3529" y="7089"/>
                  </a:lnTo>
                  <a:cubicBezTo>
                    <a:pt x="3592" y="6963"/>
                    <a:pt x="3623" y="6805"/>
                    <a:pt x="3623" y="6648"/>
                  </a:cubicBezTo>
                  <a:lnTo>
                    <a:pt x="3623" y="504"/>
                  </a:lnTo>
                  <a:cubicBezTo>
                    <a:pt x="3592" y="284"/>
                    <a:pt x="3560" y="126"/>
                    <a:pt x="3529" y="0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</p:grpSp>
      <p:sp>
        <p:nvSpPr>
          <p:cNvPr id="1069" name="TextBox 1068">
            <a:extLst>
              <a:ext uri="{FF2B5EF4-FFF2-40B4-BE49-F238E27FC236}">
                <a16:creationId xmlns:a16="http://schemas.microsoft.com/office/drawing/2014/main" id="{895A460B-0A10-4C89-8413-DC73219D38F3}"/>
              </a:ext>
            </a:extLst>
          </p:cNvPr>
          <p:cNvSpPr txBox="1"/>
          <p:nvPr/>
        </p:nvSpPr>
        <p:spPr>
          <a:xfrm>
            <a:off x="1161642" y="5433557"/>
            <a:ext cx="4015343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/>
              <a:t>https://www.linkedin.com/Yossi-Ashkenazi/</a:t>
            </a:r>
          </a:p>
        </p:txBody>
      </p:sp>
      <p:sp>
        <p:nvSpPr>
          <p:cNvPr id="1070" name="TextBox 1069">
            <a:extLst>
              <a:ext uri="{FF2B5EF4-FFF2-40B4-BE49-F238E27FC236}">
                <a16:creationId xmlns:a16="http://schemas.microsoft.com/office/drawing/2014/main" id="{A0E3633A-D1D4-4E6A-847A-78391F551AFF}"/>
              </a:ext>
            </a:extLst>
          </p:cNvPr>
          <p:cNvSpPr txBox="1"/>
          <p:nvPr/>
        </p:nvSpPr>
        <p:spPr>
          <a:xfrm>
            <a:off x="7230296" y="5411851"/>
            <a:ext cx="4015343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/>
              <a:t>https://www.linkedin.com/Omer-Kappon/</a:t>
            </a:r>
          </a:p>
        </p:txBody>
      </p:sp>
      <p:sp>
        <p:nvSpPr>
          <p:cNvPr id="1071" name="TextBox 1070">
            <a:extLst>
              <a:ext uri="{FF2B5EF4-FFF2-40B4-BE49-F238E27FC236}">
                <a16:creationId xmlns:a16="http://schemas.microsoft.com/office/drawing/2014/main" id="{1D02AF75-17A7-403B-9ABB-5A9E7DA439E0}"/>
              </a:ext>
            </a:extLst>
          </p:cNvPr>
          <p:cNvSpPr txBox="1"/>
          <p:nvPr/>
        </p:nvSpPr>
        <p:spPr>
          <a:xfrm>
            <a:off x="7247262" y="5942426"/>
            <a:ext cx="4015343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/>
              <a:t>Omer.kappon@gmail.com</a:t>
            </a:r>
          </a:p>
        </p:txBody>
      </p:sp>
      <p:sp>
        <p:nvSpPr>
          <p:cNvPr id="1072" name="TextBox 1071">
            <a:extLst>
              <a:ext uri="{FF2B5EF4-FFF2-40B4-BE49-F238E27FC236}">
                <a16:creationId xmlns:a16="http://schemas.microsoft.com/office/drawing/2014/main" id="{22A61770-A0C1-4C55-AF8B-67FE8EA0F29B}"/>
              </a:ext>
            </a:extLst>
          </p:cNvPr>
          <p:cNvSpPr txBox="1"/>
          <p:nvPr/>
        </p:nvSpPr>
        <p:spPr>
          <a:xfrm>
            <a:off x="1213174" y="5972306"/>
            <a:ext cx="4015343" cy="30777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400" b="1" dirty="0"/>
              <a:t>Yossi1ashkenazi@gmail.com</a:t>
            </a:r>
          </a:p>
        </p:txBody>
      </p:sp>
      <p:pic>
        <p:nvPicPr>
          <p:cNvPr id="3" name="תמונה 2" descr="תמונה שמכילה אדם, איש, חליפה, חוץ&#10;&#10;התיאור נוצר באופן אוטומטי">
            <a:extLst>
              <a:ext uri="{FF2B5EF4-FFF2-40B4-BE49-F238E27FC236}">
                <a16:creationId xmlns:a16="http://schemas.microsoft.com/office/drawing/2014/main" id="{7F9DE7D3-DF24-4DE8-9CD7-FBF7CB474F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570" y="1996737"/>
            <a:ext cx="2383468" cy="2383468"/>
          </a:xfrm>
          <a:prstGeom prst="ellipse">
            <a:avLst/>
          </a:prstGeom>
          <a:ln w="63500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תמונה 6" descr="תמונה שמכילה אדם, איש, עמידה, חולצה&#10;&#10;התיאור נוצר באופן אוטומטי">
            <a:extLst>
              <a:ext uri="{FF2B5EF4-FFF2-40B4-BE49-F238E27FC236}">
                <a16:creationId xmlns:a16="http://schemas.microsoft.com/office/drawing/2014/main" id="{C2085D99-869F-402F-B140-38FE735713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0093" y="1958230"/>
            <a:ext cx="2483327" cy="2483327"/>
          </a:xfrm>
          <a:prstGeom prst="ellipse">
            <a:avLst/>
          </a:prstGeom>
          <a:ln w="63500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143535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lectronic vote*election*politics*electronic card*seamless*contactless card*e-card*e-pas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ig data*analytics*analysis*cloud*AI*artificial intelligence*machine learn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urnover*people*rotation*relationship*networ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obotics*robotisation*automation*industry*fabrication*factory*plant*productivity*mechanics*productivism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owser*internet*wireframe*technology*digital*computer*website*web*connection*browsi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aerial_POWER_USER_SEPARATOR_ICONS_aircraft_POWER_USER_SEPARATOR_ICONS_autonomous_POWER_USER_SEPARATOR_ICONS_remote-controlled_POWER_USER_SEPARATOR_ICONS_remote-guided_POWER_USER_SEPARATOR_ICONS_unmanned_POWER_USER_SEPARATOR_ICONS_vehi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al-object_POWER_USER_SEPARATOR_ICONS_circuit-board_POWER_USER_SEPARATOR_ICONS_computer_POWER_USER_SEPARATOR_ICONS_digital_POWER_USER_SEPARATOR_ICONS_digitize_POWER_USER_SEPARATOR_ICONS_electronics_POWER_USER_SEPARATOR_ICONS_file_POWER_USER_SEPARATOR_ICONS_technolog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martphone*iphone*phone*phone call*phone number*cell*ipod*mobile phone*smart phone*technology*digital*computer*mobile*mobility*telephone*call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a*figures*numbers*chart*graph*analytics*analysis*growth*line chart*trends*smartphone*digital*computer*screen*presentation*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sh">
  <a:themeElements>
    <a:clrScheme name="Mesh">
      <a:dk1>
        <a:sysClr val="windowText" lastClr="000000"/>
      </a:dk1>
      <a:lt1>
        <a:sysClr val="window" lastClr="FFFFFF"/>
      </a:lt1>
      <a:dk2>
        <a:srgbClr val="363D46"/>
      </a:dk2>
      <a:lt2>
        <a:srgbClr val="EBEBEB"/>
      </a:lt2>
      <a:accent1>
        <a:srgbClr val="6F6F6F"/>
      </a:accent1>
      <a:accent2>
        <a:srgbClr val="BFBFA5"/>
      </a:accent2>
      <a:accent3>
        <a:srgbClr val="DCD084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Mesh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sh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85[[fn=Mesh]]</Template>
  <TotalTime>218</TotalTime>
  <Words>970</Words>
  <Application>Microsoft Office PowerPoint</Application>
  <PresentationFormat>מסך רחב</PresentationFormat>
  <Paragraphs>678</Paragraphs>
  <Slides>7</Slides>
  <Notes>0</Notes>
  <HiddenSlides>0</HiddenSlides>
  <MMClips>0</MMClips>
  <ScaleCrop>false</ScaleCrop>
  <HeadingPairs>
    <vt:vector size="6" baseType="variant">
      <vt:variant>
        <vt:lpstr>גופנים בשימוש</vt:lpstr>
      </vt:variant>
      <vt:variant>
        <vt:i4>3</vt:i4>
      </vt:variant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7</vt:i4>
      </vt:variant>
    </vt:vector>
  </HeadingPairs>
  <TitlesOfParts>
    <vt:vector size="11" baseType="lpstr">
      <vt:lpstr>Arial</vt:lpstr>
      <vt:lpstr>Calibri</vt:lpstr>
      <vt:lpstr>Century Gothic</vt:lpstr>
      <vt:lpstr>Mesh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mer kappon</dc:creator>
  <cp:lastModifiedBy>יוסי אשכנזי</cp:lastModifiedBy>
  <cp:revision>16</cp:revision>
  <dcterms:created xsi:type="dcterms:W3CDTF">2021-01-20T17:00:58Z</dcterms:created>
  <dcterms:modified xsi:type="dcterms:W3CDTF">2021-01-20T21:07:46Z</dcterms:modified>
</cp:coreProperties>
</file>